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9" r:id="rId4"/>
    <p:sldMasterId id="2147483681" r:id="rId5"/>
    <p:sldMasterId id="2147483696" r:id="rId6"/>
  </p:sldMasterIdLst>
  <p:notesMasterIdLst>
    <p:notesMasterId r:id="rId71"/>
  </p:notesMasterIdLst>
  <p:handoutMasterIdLst>
    <p:handoutMasterId r:id="rId72"/>
  </p:handoutMasterIdLst>
  <p:sldIdLst>
    <p:sldId id="2881" r:id="rId7"/>
    <p:sldId id="565" r:id="rId8"/>
    <p:sldId id="561" r:id="rId9"/>
    <p:sldId id="2886" r:id="rId10"/>
    <p:sldId id="581" r:id="rId11"/>
    <p:sldId id="546" r:id="rId12"/>
    <p:sldId id="547" r:id="rId13"/>
    <p:sldId id="2882" r:id="rId14"/>
    <p:sldId id="639" r:id="rId15"/>
    <p:sldId id="2883" r:id="rId16"/>
    <p:sldId id="583" r:id="rId17"/>
    <p:sldId id="584" r:id="rId18"/>
    <p:sldId id="617" r:id="rId19"/>
    <p:sldId id="618" r:id="rId20"/>
    <p:sldId id="619" r:id="rId21"/>
    <p:sldId id="620" r:id="rId22"/>
    <p:sldId id="2884" r:id="rId23"/>
    <p:sldId id="622" r:id="rId24"/>
    <p:sldId id="623" r:id="rId25"/>
    <p:sldId id="624" r:id="rId26"/>
    <p:sldId id="625" r:id="rId27"/>
    <p:sldId id="626" r:id="rId28"/>
    <p:sldId id="627" r:id="rId29"/>
    <p:sldId id="628" r:id="rId30"/>
    <p:sldId id="629" r:id="rId31"/>
    <p:sldId id="630" r:id="rId32"/>
    <p:sldId id="631" r:id="rId33"/>
    <p:sldId id="632" r:id="rId34"/>
    <p:sldId id="633" r:id="rId35"/>
    <p:sldId id="634" r:id="rId36"/>
    <p:sldId id="635" r:id="rId37"/>
    <p:sldId id="636" r:id="rId38"/>
    <p:sldId id="637" r:id="rId39"/>
    <p:sldId id="616" r:id="rId40"/>
    <p:sldId id="614" r:id="rId41"/>
    <p:sldId id="615" r:id="rId42"/>
    <p:sldId id="613" r:id="rId43"/>
    <p:sldId id="612" r:id="rId44"/>
    <p:sldId id="609" r:id="rId45"/>
    <p:sldId id="611" r:id="rId46"/>
    <p:sldId id="610" r:id="rId47"/>
    <p:sldId id="585" r:id="rId48"/>
    <p:sldId id="608" r:id="rId49"/>
    <p:sldId id="365" r:id="rId50"/>
    <p:sldId id="607" r:id="rId51"/>
    <p:sldId id="606" r:id="rId52"/>
    <p:sldId id="605" r:id="rId53"/>
    <p:sldId id="604" r:id="rId54"/>
    <p:sldId id="588" r:id="rId55"/>
    <p:sldId id="2885" r:id="rId56"/>
    <p:sldId id="569" r:id="rId57"/>
    <p:sldId id="587" r:id="rId58"/>
    <p:sldId id="601" r:id="rId59"/>
    <p:sldId id="603" r:id="rId60"/>
    <p:sldId id="602" r:id="rId61"/>
    <p:sldId id="589" r:id="rId62"/>
    <p:sldId id="638" r:id="rId63"/>
    <p:sldId id="600" r:id="rId64"/>
    <p:sldId id="597" r:id="rId65"/>
    <p:sldId id="599" r:id="rId66"/>
    <p:sldId id="593" r:id="rId67"/>
    <p:sldId id="598" r:id="rId68"/>
    <p:sldId id="591" r:id="rId69"/>
    <p:sldId id="560" r:id="rId70"/>
  </p:sldIdLst>
  <p:sldSz cx="12192000" cy="6858000"/>
  <p:notesSz cx="7104063" cy="10234613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owak Dariusz" initials="ND" lastIdx="1" clrIdx="0">
    <p:extLst>
      <p:ext uri="{19B8F6BF-5375-455C-9EA6-DF929625EA0E}">
        <p15:presenceInfo xmlns:p15="http://schemas.microsoft.com/office/powerpoint/2012/main" userId="S::Dariusz.Nowak@echo.com.pl::9e578734-b158-4481-befb-868697234f29" providerId="AD"/>
      </p:ext>
    </p:extLst>
  </p:cmAuthor>
  <p:cmAuthor id="2" name="Mazur Marta" initials="MM" lastIdx="24" clrIdx="1">
    <p:extLst>
      <p:ext uri="{19B8F6BF-5375-455C-9EA6-DF929625EA0E}">
        <p15:presenceInfo xmlns:p15="http://schemas.microsoft.com/office/powerpoint/2012/main" userId="S::Marta.Mazur@echo.com.pl::696ba51c-661a-4d9b-81e3-1ca13ad2aa4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2F0D"/>
    <a:srgbClr val="1C9C59"/>
    <a:srgbClr val="535459"/>
    <a:srgbClr val="6DCFF6"/>
    <a:srgbClr val="A6A7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34C21AA-D0F6-4075-A26B-8B5CA38B32FE}" v="1" dt="2024-04-11T20:48:43.66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2" autoAdjust="0"/>
    <p:restoredTop sz="84892" autoAdjust="0"/>
  </p:normalViewPr>
  <p:slideViewPr>
    <p:cSldViewPr snapToGrid="0">
      <p:cViewPr varScale="1">
        <p:scale>
          <a:sx n="58" d="100"/>
          <a:sy n="58" d="100"/>
        </p:scale>
        <p:origin x="42" y="73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7" d="100"/>
          <a:sy n="87" d="100"/>
        </p:scale>
        <p:origin x="-3870" y="-96"/>
      </p:cViewPr>
      <p:guideLst>
        <p:guide orient="horz" pos="3224"/>
        <p:guide pos="223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16" Type="http://schemas.openxmlformats.org/officeDocument/2006/relationships/slide" Target="slides/slide10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slide" Target="slides/slide60.xml"/><Relationship Id="rId74" Type="http://schemas.openxmlformats.org/officeDocument/2006/relationships/presProps" Target="presProps.xml"/><Relationship Id="rId79" Type="http://schemas.microsoft.com/office/2015/10/relationships/revisionInfo" Target="revisionInfo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5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tableStyles" Target="tableStyle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commentAuthors" Target="commentAuthors.xml"/><Relationship Id="rId78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theme" Target="theme/theme1.xml"/><Relationship Id="rId7" Type="http://schemas.openxmlformats.org/officeDocument/2006/relationships/slide" Target="slides/slide1.xml"/><Relationship Id="rId71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29" Type="http://schemas.openxmlformats.org/officeDocument/2006/relationships/slide" Target="slides/slide2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Łukasz Bartnicki" userId="f5fa5770-7d4b-4839-bd65-47daadd6c741" providerId="ADAL" clId="{DD1D0391-8C74-4C48-AA28-098DF531FE2F}"/>
    <pc:docChg chg="undo redo custSel addSld delSld modSld addMainMaster delMainMaster modMainMaster">
      <pc:chgData name="Łukasz Bartnicki" userId="f5fa5770-7d4b-4839-bd65-47daadd6c741" providerId="ADAL" clId="{DD1D0391-8C74-4C48-AA28-098DF531FE2F}" dt="2024-01-09T14:45:21.146" v="2711" actId="207"/>
      <pc:docMkLst>
        <pc:docMk/>
      </pc:docMkLst>
      <pc:sldChg chg="addSp delSp modSp mod">
        <pc:chgData name="Łukasz Bartnicki" userId="f5fa5770-7d4b-4839-bd65-47daadd6c741" providerId="ADAL" clId="{DD1D0391-8C74-4C48-AA28-098DF531FE2F}" dt="2024-01-09T14:07:59.409" v="1861" actId="2711"/>
        <pc:sldMkLst>
          <pc:docMk/>
          <pc:sldMk cId="0" sldId="365"/>
        </pc:sldMkLst>
        <pc:spChg chg="add mod">
          <ac:chgData name="Łukasz Bartnicki" userId="f5fa5770-7d4b-4839-bd65-47daadd6c741" providerId="ADAL" clId="{DD1D0391-8C74-4C48-AA28-098DF531FE2F}" dt="2024-01-09T14:07:52.356" v="1859"/>
          <ac:spMkLst>
            <pc:docMk/>
            <pc:sldMk cId="0" sldId="365"/>
            <ac:spMk id="2" creationId="{E8CB4495-CDB5-BA1C-A625-A885A340B064}"/>
          </ac:spMkLst>
        </pc:spChg>
        <pc:spChg chg="del">
          <ac:chgData name="Łukasz Bartnicki" userId="f5fa5770-7d4b-4839-bd65-47daadd6c741" providerId="ADAL" clId="{DD1D0391-8C74-4C48-AA28-098DF531FE2F}" dt="2024-01-09T14:07:51.989" v="1858" actId="478"/>
          <ac:spMkLst>
            <pc:docMk/>
            <pc:sldMk cId="0" sldId="365"/>
            <ac:spMk id="40" creationId="{704A35A3-41C3-43F1-887B-D96554B6ADB5}"/>
          </ac:spMkLst>
        </pc:spChg>
        <pc:spChg chg="mod">
          <ac:chgData name="Łukasz Bartnicki" userId="f5fa5770-7d4b-4839-bd65-47daadd6c741" providerId="ADAL" clId="{DD1D0391-8C74-4C48-AA28-098DF531FE2F}" dt="2024-01-09T14:07:59.409" v="1861" actId="2711"/>
          <ac:spMkLst>
            <pc:docMk/>
            <pc:sldMk cId="0" sldId="365"/>
            <ac:spMk id="34819" creationId="{F8B69CC2-D850-4133-BBEA-4323A945FEE0}"/>
          </ac:spMkLst>
        </pc:spChg>
      </pc:sldChg>
      <pc:sldChg chg="del">
        <pc:chgData name="Łukasz Bartnicki" userId="f5fa5770-7d4b-4839-bd65-47daadd6c741" providerId="ADAL" clId="{DD1D0391-8C74-4C48-AA28-098DF531FE2F}" dt="2024-01-09T12:01:26.922" v="36" actId="47"/>
        <pc:sldMkLst>
          <pc:docMk/>
          <pc:sldMk cId="1045706865" sldId="550"/>
        </pc:sldMkLst>
      </pc:sldChg>
      <pc:sldChg chg="del">
        <pc:chgData name="Łukasz Bartnicki" userId="f5fa5770-7d4b-4839-bd65-47daadd6c741" providerId="ADAL" clId="{DD1D0391-8C74-4C48-AA28-098DF531FE2F}" dt="2024-01-09T12:01:26.922" v="36" actId="47"/>
        <pc:sldMkLst>
          <pc:docMk/>
          <pc:sldMk cId="2604381336" sldId="551"/>
        </pc:sldMkLst>
      </pc:sldChg>
      <pc:sldChg chg="del">
        <pc:chgData name="Łukasz Bartnicki" userId="f5fa5770-7d4b-4839-bd65-47daadd6c741" providerId="ADAL" clId="{DD1D0391-8C74-4C48-AA28-098DF531FE2F}" dt="2024-01-09T12:01:26.922" v="36" actId="47"/>
        <pc:sldMkLst>
          <pc:docMk/>
          <pc:sldMk cId="1642958668" sldId="552"/>
        </pc:sldMkLst>
      </pc:sldChg>
      <pc:sldChg chg="del">
        <pc:chgData name="Łukasz Bartnicki" userId="f5fa5770-7d4b-4839-bd65-47daadd6c741" providerId="ADAL" clId="{DD1D0391-8C74-4C48-AA28-098DF531FE2F}" dt="2024-01-09T12:01:26.922" v="36" actId="47"/>
        <pc:sldMkLst>
          <pc:docMk/>
          <pc:sldMk cId="1622436206" sldId="553"/>
        </pc:sldMkLst>
      </pc:sldChg>
      <pc:sldChg chg="del">
        <pc:chgData name="Łukasz Bartnicki" userId="f5fa5770-7d4b-4839-bd65-47daadd6c741" providerId="ADAL" clId="{DD1D0391-8C74-4C48-AA28-098DF531FE2F}" dt="2024-01-09T12:01:26.922" v="36" actId="47"/>
        <pc:sldMkLst>
          <pc:docMk/>
          <pc:sldMk cId="3422162950" sldId="554"/>
        </pc:sldMkLst>
      </pc:sldChg>
      <pc:sldChg chg="del">
        <pc:chgData name="Łukasz Bartnicki" userId="f5fa5770-7d4b-4839-bd65-47daadd6c741" providerId="ADAL" clId="{DD1D0391-8C74-4C48-AA28-098DF531FE2F}" dt="2024-01-09T12:01:26.922" v="36" actId="47"/>
        <pc:sldMkLst>
          <pc:docMk/>
          <pc:sldMk cId="2010431891" sldId="555"/>
        </pc:sldMkLst>
      </pc:sldChg>
      <pc:sldChg chg="del">
        <pc:chgData name="Łukasz Bartnicki" userId="f5fa5770-7d4b-4839-bd65-47daadd6c741" providerId="ADAL" clId="{DD1D0391-8C74-4C48-AA28-098DF531FE2F}" dt="2024-01-09T12:01:26.922" v="36" actId="47"/>
        <pc:sldMkLst>
          <pc:docMk/>
          <pc:sldMk cId="1476855616" sldId="557"/>
        </pc:sldMkLst>
      </pc:sldChg>
      <pc:sldChg chg="del">
        <pc:chgData name="Łukasz Bartnicki" userId="f5fa5770-7d4b-4839-bd65-47daadd6c741" providerId="ADAL" clId="{DD1D0391-8C74-4C48-AA28-098DF531FE2F}" dt="2024-01-09T12:01:26.922" v="36" actId="47"/>
        <pc:sldMkLst>
          <pc:docMk/>
          <pc:sldMk cId="4280238782" sldId="559"/>
        </pc:sldMkLst>
      </pc:sldChg>
      <pc:sldChg chg="modSp mod">
        <pc:chgData name="Łukasz Bartnicki" userId="f5fa5770-7d4b-4839-bd65-47daadd6c741" providerId="ADAL" clId="{DD1D0391-8C74-4C48-AA28-098DF531FE2F}" dt="2024-01-09T14:40:45.111" v="2607" actId="20577"/>
        <pc:sldMkLst>
          <pc:docMk/>
          <pc:sldMk cId="19349220" sldId="560"/>
        </pc:sldMkLst>
        <pc:spChg chg="mod">
          <ac:chgData name="Łukasz Bartnicki" userId="f5fa5770-7d4b-4839-bd65-47daadd6c741" providerId="ADAL" clId="{DD1D0391-8C74-4C48-AA28-098DF531FE2F}" dt="2024-01-09T14:40:36.920" v="2602" actId="1076"/>
          <ac:spMkLst>
            <pc:docMk/>
            <pc:sldMk cId="19349220" sldId="560"/>
            <ac:spMk id="2" creationId="{D32FD927-0D75-B8EE-750B-AFC9CEE549FF}"/>
          </ac:spMkLst>
        </pc:spChg>
        <pc:spChg chg="mod">
          <ac:chgData name="Łukasz Bartnicki" userId="f5fa5770-7d4b-4839-bd65-47daadd6c741" providerId="ADAL" clId="{DD1D0391-8C74-4C48-AA28-098DF531FE2F}" dt="2024-01-09T14:40:43.163" v="2605" actId="20577"/>
          <ac:spMkLst>
            <pc:docMk/>
            <pc:sldMk cId="19349220" sldId="560"/>
            <ac:spMk id="6" creationId="{274F0CA6-3726-4496-97EC-315164686118}"/>
          </ac:spMkLst>
        </pc:spChg>
        <pc:spChg chg="mod">
          <ac:chgData name="Łukasz Bartnicki" userId="f5fa5770-7d4b-4839-bd65-47daadd6c741" providerId="ADAL" clId="{DD1D0391-8C74-4C48-AA28-098DF531FE2F}" dt="2024-01-09T14:40:45.111" v="2607" actId="20577"/>
          <ac:spMkLst>
            <pc:docMk/>
            <pc:sldMk cId="19349220" sldId="560"/>
            <ac:spMk id="7" creationId="{71BD9C04-B04A-4484-9BBE-2FCF6E1CDC11}"/>
          </ac:spMkLst>
        </pc:spChg>
        <pc:spChg chg="mod">
          <ac:chgData name="Łukasz Bartnicki" userId="f5fa5770-7d4b-4839-bd65-47daadd6c741" providerId="ADAL" clId="{DD1D0391-8C74-4C48-AA28-098DF531FE2F}" dt="2024-01-09T14:40:39.619" v="2603" actId="20577"/>
          <ac:spMkLst>
            <pc:docMk/>
            <pc:sldMk cId="19349220" sldId="560"/>
            <ac:spMk id="41" creationId="{F9B95D2E-0081-400F-A1F3-ACBEF073904C}"/>
          </ac:spMkLst>
        </pc:spChg>
      </pc:sldChg>
      <pc:sldChg chg="del">
        <pc:chgData name="Łukasz Bartnicki" userId="f5fa5770-7d4b-4839-bd65-47daadd6c741" providerId="ADAL" clId="{DD1D0391-8C74-4C48-AA28-098DF531FE2F}" dt="2024-01-09T12:01:26.922" v="36" actId="47"/>
        <pc:sldMkLst>
          <pc:docMk/>
          <pc:sldMk cId="2604381336" sldId="564"/>
        </pc:sldMkLst>
      </pc:sldChg>
      <pc:sldChg chg="del">
        <pc:chgData name="Łukasz Bartnicki" userId="f5fa5770-7d4b-4839-bd65-47daadd6c741" providerId="ADAL" clId="{DD1D0391-8C74-4C48-AA28-098DF531FE2F}" dt="2024-01-09T12:01:26.922" v="36" actId="47"/>
        <pc:sldMkLst>
          <pc:docMk/>
          <pc:sldMk cId="1395386405" sldId="568"/>
        </pc:sldMkLst>
      </pc:sldChg>
      <pc:sldChg chg="del">
        <pc:chgData name="Łukasz Bartnicki" userId="f5fa5770-7d4b-4839-bd65-47daadd6c741" providerId="ADAL" clId="{DD1D0391-8C74-4C48-AA28-098DF531FE2F}" dt="2024-01-09T14:22:54.221" v="2088" actId="47"/>
        <pc:sldMkLst>
          <pc:docMk/>
          <pc:sldMk cId="0" sldId="569"/>
        </pc:sldMkLst>
      </pc:sldChg>
      <pc:sldChg chg="modSp mod">
        <pc:chgData name="Łukasz Bartnicki" userId="f5fa5770-7d4b-4839-bd65-47daadd6c741" providerId="ADAL" clId="{DD1D0391-8C74-4C48-AA28-098DF531FE2F}" dt="2024-01-09T14:45:21.146" v="2711" actId="207"/>
        <pc:sldMkLst>
          <pc:docMk/>
          <pc:sldMk cId="2491931283" sldId="581"/>
        </pc:sldMkLst>
        <pc:spChg chg="mod">
          <ac:chgData name="Łukasz Bartnicki" userId="f5fa5770-7d4b-4839-bd65-47daadd6c741" providerId="ADAL" clId="{DD1D0391-8C74-4C48-AA28-098DF531FE2F}" dt="2024-01-09T14:45:21.146" v="2711" actId="207"/>
          <ac:spMkLst>
            <pc:docMk/>
            <pc:sldMk cId="2491931283" sldId="581"/>
            <ac:spMk id="8" creationId="{549EB90A-3118-DD3D-ECE4-946CFEFEFF67}"/>
          </ac:spMkLst>
        </pc:spChg>
        <pc:graphicFrameChg chg="mod">
          <ac:chgData name="Łukasz Bartnicki" userId="f5fa5770-7d4b-4839-bd65-47daadd6c741" providerId="ADAL" clId="{DD1D0391-8C74-4C48-AA28-098DF531FE2F}" dt="2024-01-09T14:45:10.633" v="2710" actId="20577"/>
          <ac:graphicFrameMkLst>
            <pc:docMk/>
            <pc:sldMk cId="2491931283" sldId="581"/>
            <ac:graphicFrameMk id="9" creationId="{A1C6D31C-BE73-D746-CE24-EDF2DDF0737D}"/>
          </ac:graphicFrameMkLst>
        </pc:graphicFrameChg>
      </pc:sldChg>
      <pc:sldChg chg="addSp delSp modSp mod">
        <pc:chgData name="Łukasz Bartnicki" userId="f5fa5770-7d4b-4839-bd65-47daadd6c741" providerId="ADAL" clId="{DD1D0391-8C74-4C48-AA28-098DF531FE2F}" dt="2024-01-09T13:46:16.272" v="284" actId="20577"/>
        <pc:sldMkLst>
          <pc:docMk/>
          <pc:sldMk cId="1965477099" sldId="583"/>
        </pc:sldMkLst>
        <pc:spChg chg="add del mod">
          <ac:chgData name="Łukasz Bartnicki" userId="f5fa5770-7d4b-4839-bd65-47daadd6c741" providerId="ADAL" clId="{DD1D0391-8C74-4C48-AA28-098DF531FE2F}" dt="2024-01-09T13:46:10.237" v="257" actId="478"/>
          <ac:spMkLst>
            <pc:docMk/>
            <pc:sldMk cId="1965477099" sldId="583"/>
            <ac:spMk id="3" creationId="{DED2BDE1-5680-DF66-5B4C-3E4CC2B9E2B0}"/>
          </ac:spMkLst>
        </pc:spChg>
        <pc:spChg chg="add mod">
          <ac:chgData name="Łukasz Bartnicki" userId="f5fa5770-7d4b-4839-bd65-47daadd6c741" providerId="ADAL" clId="{DD1D0391-8C74-4C48-AA28-098DF531FE2F}" dt="2024-01-09T13:46:16.272" v="284" actId="20577"/>
          <ac:spMkLst>
            <pc:docMk/>
            <pc:sldMk cId="1965477099" sldId="583"/>
            <ac:spMk id="4" creationId="{6B7977C5-E8A2-DB3D-A31F-BD25C9C2A43B}"/>
          </ac:spMkLst>
        </pc:spChg>
        <pc:spChg chg="del mod">
          <ac:chgData name="Łukasz Bartnicki" userId="f5fa5770-7d4b-4839-bd65-47daadd6c741" providerId="ADAL" clId="{DD1D0391-8C74-4C48-AA28-098DF531FE2F}" dt="2024-01-09T13:46:07.759" v="255" actId="478"/>
          <ac:spMkLst>
            <pc:docMk/>
            <pc:sldMk cId="1965477099" sldId="583"/>
            <ac:spMk id="37" creationId="{00000000-0000-0000-0000-000000000000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3:47:44.717" v="329" actId="20577"/>
        <pc:sldMkLst>
          <pc:docMk/>
          <pc:sldMk cId="2045299791" sldId="584"/>
        </pc:sldMkLst>
        <pc:spChg chg="add del mod">
          <ac:chgData name="Łukasz Bartnicki" userId="f5fa5770-7d4b-4839-bd65-47daadd6c741" providerId="ADAL" clId="{DD1D0391-8C74-4C48-AA28-098DF531FE2F}" dt="2024-01-09T13:47:31.422" v="288" actId="478"/>
          <ac:spMkLst>
            <pc:docMk/>
            <pc:sldMk cId="2045299791" sldId="584"/>
            <ac:spMk id="3" creationId="{D0C7A8FC-6362-37BA-AB34-CAE292370F1C}"/>
          </ac:spMkLst>
        </pc:spChg>
        <pc:spChg chg="add mod">
          <ac:chgData name="Łukasz Bartnicki" userId="f5fa5770-7d4b-4839-bd65-47daadd6c741" providerId="ADAL" clId="{DD1D0391-8C74-4C48-AA28-098DF531FE2F}" dt="2024-01-09T13:47:44.717" v="329" actId="20577"/>
          <ac:spMkLst>
            <pc:docMk/>
            <pc:sldMk cId="2045299791" sldId="584"/>
            <ac:spMk id="4" creationId="{92F5A1D9-5CCB-F6B2-FA53-599C62CD8605}"/>
          </ac:spMkLst>
        </pc:spChg>
        <pc:spChg chg="del mod">
          <ac:chgData name="Łukasz Bartnicki" userId="f5fa5770-7d4b-4839-bd65-47daadd6c741" providerId="ADAL" clId="{DD1D0391-8C74-4C48-AA28-098DF531FE2F}" dt="2024-01-09T13:47:29.391" v="285" actId="478"/>
          <ac:spMkLst>
            <pc:docMk/>
            <pc:sldMk cId="2045299791" sldId="584"/>
            <ac:spMk id="45" creationId="{00000000-0000-0000-0000-000000000000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4:07:38.061" v="1856" actId="20577"/>
        <pc:sldMkLst>
          <pc:docMk/>
          <pc:sldMk cId="3422162950" sldId="585"/>
        </pc:sldMkLst>
        <pc:spChg chg="add del mod">
          <ac:chgData name="Łukasz Bartnicki" userId="f5fa5770-7d4b-4839-bd65-47daadd6c741" providerId="ADAL" clId="{DD1D0391-8C74-4C48-AA28-098DF531FE2F}" dt="2024-01-09T14:04:45.903" v="1712" actId="478"/>
          <ac:spMkLst>
            <pc:docMk/>
            <pc:sldMk cId="3422162950" sldId="585"/>
            <ac:spMk id="3" creationId="{5E726718-A701-B3EC-EFA1-22B60C357CE9}"/>
          </ac:spMkLst>
        </pc:spChg>
        <pc:spChg chg="add mod">
          <ac:chgData name="Łukasz Bartnicki" userId="f5fa5770-7d4b-4839-bd65-47daadd6c741" providerId="ADAL" clId="{DD1D0391-8C74-4C48-AA28-098DF531FE2F}" dt="2024-01-09T14:07:38.061" v="1856" actId="20577"/>
          <ac:spMkLst>
            <pc:docMk/>
            <pc:sldMk cId="3422162950" sldId="585"/>
            <ac:spMk id="4" creationId="{0CCDF92B-74E4-2780-5FCF-9556294AA0FD}"/>
          </ac:spMkLst>
        </pc:spChg>
        <pc:spChg chg="add del mod">
          <ac:chgData name="Łukasz Bartnicki" userId="f5fa5770-7d4b-4839-bd65-47daadd6c741" providerId="ADAL" clId="{DD1D0391-8C74-4C48-AA28-098DF531FE2F}" dt="2024-01-09T14:05:08.388" v="1771"/>
          <ac:spMkLst>
            <pc:docMk/>
            <pc:sldMk cId="3422162950" sldId="585"/>
            <ac:spMk id="5" creationId="{85072910-F672-FF9C-A51C-D3AC8B9C2957}"/>
          </ac:spMkLst>
        </pc:spChg>
        <pc:spChg chg="add del mod">
          <ac:chgData name="Łukasz Bartnicki" userId="f5fa5770-7d4b-4839-bd65-47daadd6c741" providerId="ADAL" clId="{DD1D0391-8C74-4C48-AA28-098DF531FE2F}" dt="2024-01-09T14:05:08.245" v="1770"/>
          <ac:spMkLst>
            <pc:docMk/>
            <pc:sldMk cId="3422162950" sldId="585"/>
            <ac:spMk id="6" creationId="{06B6BD53-BDF4-2EA7-31DC-8D3194328F9E}"/>
          </ac:spMkLst>
        </pc:spChg>
        <pc:spChg chg="add del mod">
          <ac:chgData name="Łukasz Bartnicki" userId="f5fa5770-7d4b-4839-bd65-47daadd6c741" providerId="ADAL" clId="{DD1D0391-8C74-4C48-AA28-098DF531FE2F}" dt="2024-01-09T14:05:08.050" v="1769"/>
          <ac:spMkLst>
            <pc:docMk/>
            <pc:sldMk cId="3422162950" sldId="585"/>
            <ac:spMk id="7" creationId="{6E689D6C-8C7A-EE67-FFC1-31EB5ADF6EBE}"/>
          </ac:spMkLst>
        </pc:spChg>
        <pc:spChg chg="del mod">
          <ac:chgData name="Łukasz Bartnicki" userId="f5fa5770-7d4b-4839-bd65-47daadd6c741" providerId="ADAL" clId="{DD1D0391-8C74-4C48-AA28-098DF531FE2F}" dt="2024-01-09T14:04:44.047" v="1710" actId="478"/>
          <ac:spMkLst>
            <pc:docMk/>
            <pc:sldMk cId="3422162950" sldId="585"/>
            <ac:spMk id="51" creationId="{00000000-0000-0000-0000-000000000000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4:25:01.039" v="2124" actId="1076"/>
        <pc:sldMkLst>
          <pc:docMk/>
          <pc:sldMk cId="1476855616" sldId="587"/>
        </pc:sldMkLst>
        <pc:spChg chg="add del mod">
          <ac:chgData name="Łukasz Bartnicki" userId="f5fa5770-7d4b-4839-bd65-47daadd6c741" providerId="ADAL" clId="{DD1D0391-8C74-4C48-AA28-098DF531FE2F}" dt="2024-01-09T14:24:43.355" v="2092" actId="478"/>
          <ac:spMkLst>
            <pc:docMk/>
            <pc:sldMk cId="1476855616" sldId="587"/>
            <ac:spMk id="3" creationId="{8DDEB397-B5E5-A4CE-BF39-9CC42E06EB64}"/>
          </ac:spMkLst>
        </pc:spChg>
        <pc:spChg chg="add mod">
          <ac:chgData name="Łukasz Bartnicki" userId="f5fa5770-7d4b-4839-bd65-47daadd6c741" providerId="ADAL" clId="{DD1D0391-8C74-4C48-AA28-098DF531FE2F}" dt="2024-01-09T14:25:01.039" v="2124" actId="1076"/>
          <ac:spMkLst>
            <pc:docMk/>
            <pc:sldMk cId="1476855616" sldId="587"/>
            <ac:spMk id="4" creationId="{69914E11-A656-B52D-2A21-B7C0E66A3DED}"/>
          </ac:spMkLst>
        </pc:spChg>
        <pc:spChg chg="del mod">
          <ac:chgData name="Łukasz Bartnicki" userId="f5fa5770-7d4b-4839-bd65-47daadd6c741" providerId="ADAL" clId="{DD1D0391-8C74-4C48-AA28-098DF531FE2F}" dt="2024-01-09T14:24:40.608" v="2090" actId="478"/>
          <ac:spMkLst>
            <pc:docMk/>
            <pc:sldMk cId="1476855616" sldId="587"/>
            <ac:spMk id="44" creationId="{00000000-0000-0000-0000-000000000000}"/>
          </ac:spMkLst>
        </pc:spChg>
        <pc:grpChg chg="mod">
          <ac:chgData name="Łukasz Bartnicki" userId="f5fa5770-7d4b-4839-bd65-47daadd6c741" providerId="ADAL" clId="{DD1D0391-8C74-4C48-AA28-098DF531FE2F}" dt="2024-01-09T14:24:19.695" v="2089" actId="1076"/>
          <ac:grpSpMkLst>
            <pc:docMk/>
            <pc:sldMk cId="1476855616" sldId="587"/>
            <ac:grpSpMk id="55" creationId="{7E2E3D63-1F39-417C-869C-4C0F1F70C06A}"/>
          </ac:grpSpMkLst>
        </pc:grpChg>
      </pc:sldChg>
      <pc:sldChg chg="addSp delSp modSp mod">
        <pc:chgData name="Łukasz Bartnicki" userId="f5fa5770-7d4b-4839-bd65-47daadd6c741" providerId="ADAL" clId="{DD1D0391-8C74-4C48-AA28-098DF531FE2F}" dt="2024-01-09T14:22:50.364" v="2087" actId="207"/>
        <pc:sldMkLst>
          <pc:docMk/>
          <pc:sldMk cId="1622436206" sldId="588"/>
        </pc:sldMkLst>
        <pc:spChg chg="add del mod">
          <ac:chgData name="Łukasz Bartnicki" userId="f5fa5770-7d4b-4839-bd65-47daadd6c741" providerId="ADAL" clId="{DD1D0391-8C74-4C48-AA28-098DF531FE2F}" dt="2024-01-09T14:18:17.422" v="1994" actId="478"/>
          <ac:spMkLst>
            <pc:docMk/>
            <pc:sldMk cId="1622436206" sldId="588"/>
            <ac:spMk id="3" creationId="{202B9FA5-0F59-FD05-E10C-943FADCAEBAE}"/>
          </ac:spMkLst>
        </pc:spChg>
        <pc:spChg chg="add mod">
          <ac:chgData name="Łukasz Bartnicki" userId="f5fa5770-7d4b-4839-bd65-47daadd6c741" providerId="ADAL" clId="{DD1D0391-8C74-4C48-AA28-098DF531FE2F}" dt="2024-01-09T14:18:41.080" v="2020" actId="1076"/>
          <ac:spMkLst>
            <pc:docMk/>
            <pc:sldMk cId="1622436206" sldId="588"/>
            <ac:spMk id="4" creationId="{71A1269C-7729-62B9-E02F-BD3D1DEFDAF9}"/>
          </ac:spMkLst>
        </pc:spChg>
        <pc:spChg chg="add mod">
          <ac:chgData name="Łukasz Bartnicki" userId="f5fa5770-7d4b-4839-bd65-47daadd6c741" providerId="ADAL" clId="{DD1D0391-8C74-4C48-AA28-098DF531FE2F}" dt="2024-01-09T14:22:50.364" v="2087" actId="207"/>
          <ac:spMkLst>
            <pc:docMk/>
            <pc:sldMk cId="1622436206" sldId="588"/>
            <ac:spMk id="5" creationId="{081CB4DC-B702-5619-19B4-12CB44C9A102}"/>
          </ac:spMkLst>
        </pc:spChg>
        <pc:spChg chg="mod">
          <ac:chgData name="Łukasz Bartnicki" userId="f5fa5770-7d4b-4839-bd65-47daadd6c741" providerId="ADAL" clId="{DD1D0391-8C74-4C48-AA28-098DF531FE2F}" dt="2024-01-09T14:22:35.425" v="2085" actId="207"/>
          <ac:spMkLst>
            <pc:docMk/>
            <pc:sldMk cId="1622436206" sldId="588"/>
            <ac:spMk id="44" creationId="{AEB9C810-CFEA-4717-A8A2-9964AF19B7FE}"/>
          </ac:spMkLst>
        </pc:spChg>
        <pc:spChg chg="mod">
          <ac:chgData name="Łukasz Bartnicki" userId="f5fa5770-7d4b-4839-bd65-47daadd6c741" providerId="ADAL" clId="{DD1D0391-8C74-4C48-AA28-098DF531FE2F}" dt="2024-01-09T14:22:39.098" v="2086" actId="207"/>
          <ac:spMkLst>
            <pc:docMk/>
            <pc:sldMk cId="1622436206" sldId="588"/>
            <ac:spMk id="49" creationId="{AEB9C810-CFEA-4717-A8A2-9964AF19B7FE}"/>
          </ac:spMkLst>
        </pc:spChg>
        <pc:spChg chg="mod">
          <ac:chgData name="Łukasz Bartnicki" userId="f5fa5770-7d4b-4839-bd65-47daadd6c741" providerId="ADAL" clId="{DD1D0391-8C74-4C48-AA28-098DF531FE2F}" dt="2024-01-09T14:22:24.261" v="2083" actId="108"/>
          <ac:spMkLst>
            <pc:docMk/>
            <pc:sldMk cId="1622436206" sldId="588"/>
            <ac:spMk id="50" creationId="{AEB9C810-CFEA-4717-A8A2-9964AF19B7FE}"/>
          </ac:spMkLst>
        </pc:spChg>
        <pc:spChg chg="del mod">
          <ac:chgData name="Łukasz Bartnicki" userId="f5fa5770-7d4b-4839-bd65-47daadd6c741" providerId="ADAL" clId="{DD1D0391-8C74-4C48-AA28-098DF531FE2F}" dt="2024-01-09T14:18:13.920" v="1992" actId="478"/>
          <ac:spMkLst>
            <pc:docMk/>
            <pc:sldMk cId="1622436206" sldId="588"/>
            <ac:spMk id="51" creationId="{00000000-0000-0000-0000-000000000000}"/>
          </ac:spMkLst>
        </pc:spChg>
        <pc:picChg chg="mod">
          <ac:chgData name="Łukasz Bartnicki" userId="f5fa5770-7d4b-4839-bd65-47daadd6c741" providerId="ADAL" clId="{DD1D0391-8C74-4C48-AA28-098DF531FE2F}" dt="2024-01-09T14:18:35.769" v="2017" actId="1076"/>
          <ac:picMkLst>
            <pc:docMk/>
            <pc:sldMk cId="1622436206" sldId="588"/>
            <ac:picMk id="39" creationId="{00000000-0000-0000-0000-000000000000}"/>
          </ac:picMkLst>
        </pc:picChg>
        <pc:picChg chg="mod">
          <ac:chgData name="Łukasz Bartnicki" userId="f5fa5770-7d4b-4839-bd65-47daadd6c741" providerId="ADAL" clId="{DD1D0391-8C74-4C48-AA28-098DF531FE2F}" dt="2024-01-09T14:18:35.769" v="2017" actId="1076"/>
          <ac:picMkLst>
            <pc:docMk/>
            <pc:sldMk cId="1622436206" sldId="588"/>
            <ac:picMk id="47" creationId="{24077766-63A9-45EB-8E3E-96F30AE35349}"/>
          </ac:picMkLst>
        </pc:picChg>
        <pc:picChg chg="mod">
          <ac:chgData name="Łukasz Bartnicki" userId="f5fa5770-7d4b-4839-bd65-47daadd6c741" providerId="ADAL" clId="{DD1D0391-8C74-4C48-AA28-098DF531FE2F}" dt="2024-01-09T14:18:35.769" v="2017" actId="1076"/>
          <ac:picMkLst>
            <pc:docMk/>
            <pc:sldMk cId="1622436206" sldId="588"/>
            <ac:picMk id="48" creationId="{3B4068D5-31EA-43E6-99CA-D23D1F45E500}"/>
          </ac:picMkLst>
        </pc:picChg>
      </pc:sldChg>
      <pc:sldChg chg="addSp delSp modSp mod">
        <pc:chgData name="Łukasz Bartnicki" userId="f5fa5770-7d4b-4839-bd65-47daadd6c741" providerId="ADAL" clId="{DD1D0391-8C74-4C48-AA28-098DF531FE2F}" dt="2024-01-09T14:26:52.809" v="2327" actId="20577"/>
        <pc:sldMkLst>
          <pc:docMk/>
          <pc:sldMk cId="1633895229" sldId="589"/>
        </pc:sldMkLst>
        <pc:spChg chg="add del mod">
          <ac:chgData name="Łukasz Bartnicki" userId="f5fa5770-7d4b-4839-bd65-47daadd6c741" providerId="ADAL" clId="{DD1D0391-8C74-4C48-AA28-098DF531FE2F}" dt="2024-01-09T14:26:02.481" v="2219" actId="478"/>
          <ac:spMkLst>
            <pc:docMk/>
            <pc:sldMk cId="1633895229" sldId="589"/>
            <ac:spMk id="3" creationId="{86597332-653B-AA23-6BC3-D9D9654773F6}"/>
          </ac:spMkLst>
        </pc:spChg>
        <pc:spChg chg="add mod">
          <ac:chgData name="Łukasz Bartnicki" userId="f5fa5770-7d4b-4839-bd65-47daadd6c741" providerId="ADAL" clId="{DD1D0391-8C74-4C48-AA28-098DF531FE2F}" dt="2024-01-09T14:26:23.514" v="2310" actId="20577"/>
          <ac:spMkLst>
            <pc:docMk/>
            <pc:sldMk cId="1633895229" sldId="589"/>
            <ac:spMk id="4" creationId="{C7D47ACD-AD0E-4B2F-88DA-3963C5F70260}"/>
          </ac:spMkLst>
        </pc:spChg>
        <pc:spChg chg="del mod">
          <ac:chgData name="Łukasz Bartnicki" userId="f5fa5770-7d4b-4839-bd65-47daadd6c741" providerId="ADAL" clId="{DD1D0391-8C74-4C48-AA28-098DF531FE2F}" dt="2024-01-09T14:25:59.491" v="2216" actId="478"/>
          <ac:spMkLst>
            <pc:docMk/>
            <pc:sldMk cId="1633895229" sldId="589"/>
            <ac:spMk id="40" creationId="{00000000-0000-0000-0000-000000000000}"/>
          </ac:spMkLst>
        </pc:spChg>
        <pc:spChg chg="mod">
          <ac:chgData name="Łukasz Bartnicki" userId="f5fa5770-7d4b-4839-bd65-47daadd6c741" providerId="ADAL" clId="{DD1D0391-8C74-4C48-AA28-098DF531FE2F}" dt="2024-01-09T14:26:52.809" v="2327" actId="20577"/>
          <ac:spMkLst>
            <pc:docMk/>
            <pc:sldMk cId="1633895229" sldId="589"/>
            <ac:spMk id="41" creationId="{00000000-0000-0000-0000-000000000000}"/>
          </ac:spMkLst>
        </pc:spChg>
        <pc:picChg chg="del">
          <ac:chgData name="Łukasz Bartnicki" userId="f5fa5770-7d4b-4839-bd65-47daadd6c741" providerId="ADAL" clId="{DD1D0391-8C74-4C48-AA28-098DF531FE2F}" dt="2024-01-09T14:26:26.191" v="2311" actId="478"/>
          <ac:picMkLst>
            <pc:docMk/>
            <pc:sldMk cId="1633895229" sldId="589"/>
            <ac:picMk id="42" creationId="{48F30EF0-93F9-4EA2-8C03-CCF08C48FA0B}"/>
          </ac:picMkLst>
        </pc:picChg>
        <pc:picChg chg="mod">
          <ac:chgData name="Łukasz Bartnicki" userId="f5fa5770-7d4b-4839-bd65-47daadd6c741" providerId="ADAL" clId="{DD1D0391-8C74-4C48-AA28-098DF531FE2F}" dt="2024-01-09T14:26:31.088" v="2312" actId="1076"/>
          <ac:picMkLst>
            <pc:docMk/>
            <pc:sldMk cId="1633895229" sldId="589"/>
            <ac:picMk id="43" creationId="{9C50C851-6EA3-48A9-AE07-7F54E64CF405}"/>
          </ac:picMkLst>
        </pc:picChg>
        <pc:picChg chg="mod">
          <ac:chgData name="Łukasz Bartnicki" userId="f5fa5770-7d4b-4839-bd65-47daadd6c741" providerId="ADAL" clId="{DD1D0391-8C74-4C48-AA28-098DF531FE2F}" dt="2024-01-09T14:26:35.372" v="2315" actId="1076"/>
          <ac:picMkLst>
            <pc:docMk/>
            <pc:sldMk cId="1633895229" sldId="589"/>
            <ac:picMk id="45" creationId="{2E7769EF-4086-4BC1-B920-536AA80D1EBF}"/>
          </ac:picMkLst>
        </pc:picChg>
        <pc:picChg chg="del">
          <ac:chgData name="Łukasz Bartnicki" userId="f5fa5770-7d4b-4839-bd65-47daadd6c741" providerId="ADAL" clId="{DD1D0391-8C74-4C48-AA28-098DF531FE2F}" dt="2024-01-09T14:26:34.214" v="2314" actId="478"/>
          <ac:picMkLst>
            <pc:docMk/>
            <pc:sldMk cId="1633895229" sldId="589"/>
            <ac:picMk id="46" creationId="{7730DE6D-57D6-4E85-82F8-0C5D53B69F49}"/>
          </ac:picMkLst>
        </pc:picChg>
        <pc:picChg chg="mod">
          <ac:chgData name="Łukasz Bartnicki" userId="f5fa5770-7d4b-4839-bd65-47daadd6c741" providerId="ADAL" clId="{DD1D0391-8C74-4C48-AA28-098DF531FE2F}" dt="2024-01-09T14:26:36.876" v="2316" actId="1076"/>
          <ac:picMkLst>
            <pc:docMk/>
            <pc:sldMk cId="1633895229" sldId="589"/>
            <ac:picMk id="47" creationId="{F8B79980-B109-4FAC-81BF-B8550871156A}"/>
          </ac:picMkLst>
        </pc:picChg>
      </pc:sldChg>
      <pc:sldChg chg="addSp delSp modSp mod">
        <pc:chgData name="Łukasz Bartnicki" userId="f5fa5770-7d4b-4839-bd65-47daadd6c741" providerId="ADAL" clId="{DD1D0391-8C74-4C48-AA28-098DF531FE2F}" dt="2024-01-09T14:40:30.950" v="2600" actId="20577"/>
        <pc:sldMkLst>
          <pc:docMk/>
          <pc:sldMk cId="0" sldId="591"/>
        </pc:sldMkLst>
        <pc:spChg chg="add del mod">
          <ac:chgData name="Łukasz Bartnicki" userId="f5fa5770-7d4b-4839-bd65-47daadd6c741" providerId="ADAL" clId="{DD1D0391-8C74-4C48-AA28-098DF531FE2F}" dt="2024-01-09T14:39:59.101" v="2567" actId="478"/>
          <ac:spMkLst>
            <pc:docMk/>
            <pc:sldMk cId="0" sldId="591"/>
            <ac:spMk id="3" creationId="{5F0E94E8-7161-052B-C722-7D1B1B2437E3}"/>
          </ac:spMkLst>
        </pc:spChg>
        <pc:spChg chg="add mod">
          <ac:chgData name="Łukasz Bartnicki" userId="f5fa5770-7d4b-4839-bd65-47daadd6c741" providerId="ADAL" clId="{DD1D0391-8C74-4C48-AA28-098DF531FE2F}" dt="2024-01-09T14:40:06.143" v="2588" actId="20577"/>
          <ac:spMkLst>
            <pc:docMk/>
            <pc:sldMk cId="0" sldId="591"/>
            <ac:spMk id="4" creationId="{867902C7-86A3-6823-0F2E-83FAA319EC05}"/>
          </ac:spMkLst>
        </pc:spChg>
        <pc:spChg chg="del mod">
          <ac:chgData name="Łukasz Bartnicki" userId="f5fa5770-7d4b-4839-bd65-47daadd6c741" providerId="ADAL" clId="{DD1D0391-8C74-4C48-AA28-098DF531FE2F}" dt="2024-01-09T14:39:56.365" v="2565" actId="478"/>
          <ac:spMkLst>
            <pc:docMk/>
            <pc:sldMk cId="0" sldId="591"/>
            <ac:spMk id="38" creationId="{00000000-0000-0000-0000-000000000000}"/>
          </ac:spMkLst>
        </pc:spChg>
        <pc:spChg chg="mod">
          <ac:chgData name="Łukasz Bartnicki" userId="f5fa5770-7d4b-4839-bd65-47daadd6c741" providerId="ADAL" clId="{DD1D0391-8C74-4C48-AA28-098DF531FE2F}" dt="2024-01-09T14:40:30.950" v="2600" actId="20577"/>
          <ac:spMkLst>
            <pc:docMk/>
            <pc:sldMk cId="0" sldId="591"/>
            <ac:spMk id="46" creationId="{F235C5FA-76F0-4940-874F-D8BCE57D8736}"/>
          </ac:spMkLst>
        </pc:spChg>
        <pc:picChg chg="mod modCrop">
          <ac:chgData name="Łukasz Bartnicki" userId="f5fa5770-7d4b-4839-bd65-47daadd6c741" providerId="ADAL" clId="{DD1D0391-8C74-4C48-AA28-098DF531FE2F}" dt="2024-01-09T14:39:47.019" v="2563" actId="1076"/>
          <ac:picMkLst>
            <pc:docMk/>
            <pc:sldMk cId="0" sldId="591"/>
            <ac:picMk id="43" creationId="{F6EE2E7D-2DE7-4770-8AAF-A94936580D15}"/>
          </ac:picMkLst>
        </pc:picChg>
      </pc:sldChg>
      <pc:sldChg chg="addSp delSp modSp mod">
        <pc:chgData name="Łukasz Bartnicki" userId="f5fa5770-7d4b-4839-bd65-47daadd6c741" providerId="ADAL" clId="{DD1D0391-8C74-4C48-AA28-098DF531FE2F}" dt="2024-01-09T14:38:33.414" v="2465"/>
        <pc:sldMkLst>
          <pc:docMk/>
          <pc:sldMk cId="0" sldId="593"/>
        </pc:sldMkLst>
        <pc:spChg chg="add del mod">
          <ac:chgData name="Łukasz Bartnicki" userId="f5fa5770-7d4b-4839-bd65-47daadd6c741" providerId="ADAL" clId="{DD1D0391-8C74-4C48-AA28-098DF531FE2F}" dt="2024-01-09T14:38:32.285" v="2464" actId="478"/>
          <ac:spMkLst>
            <pc:docMk/>
            <pc:sldMk cId="0" sldId="593"/>
            <ac:spMk id="3" creationId="{572BEDD7-EC8F-4391-C3D8-9B467B452DE1}"/>
          </ac:spMkLst>
        </pc:spChg>
        <pc:spChg chg="add mod">
          <ac:chgData name="Łukasz Bartnicki" userId="f5fa5770-7d4b-4839-bd65-47daadd6c741" providerId="ADAL" clId="{DD1D0391-8C74-4C48-AA28-098DF531FE2F}" dt="2024-01-09T14:38:33.414" v="2465"/>
          <ac:spMkLst>
            <pc:docMk/>
            <pc:sldMk cId="0" sldId="593"/>
            <ac:spMk id="4" creationId="{B7762459-C294-01A6-987D-20958380FA15}"/>
          </ac:spMkLst>
        </pc:spChg>
        <pc:spChg chg="del mod">
          <ac:chgData name="Łukasz Bartnicki" userId="f5fa5770-7d4b-4839-bd65-47daadd6c741" providerId="ADAL" clId="{DD1D0391-8C74-4C48-AA28-098DF531FE2F}" dt="2024-01-09T14:38:30.432" v="2462" actId="478"/>
          <ac:spMkLst>
            <pc:docMk/>
            <pc:sldMk cId="0" sldId="593"/>
            <ac:spMk id="40" creationId="{00000000-0000-0000-0000-000000000000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4:38:16.619" v="2457" actId="20577"/>
        <pc:sldMkLst>
          <pc:docMk/>
          <pc:sldMk cId="0" sldId="597"/>
        </pc:sldMkLst>
        <pc:spChg chg="add del mod">
          <ac:chgData name="Łukasz Bartnicki" userId="f5fa5770-7d4b-4839-bd65-47daadd6c741" providerId="ADAL" clId="{DD1D0391-8C74-4C48-AA28-098DF531FE2F}" dt="2024-01-09T14:37:40.830" v="2434" actId="478"/>
          <ac:spMkLst>
            <pc:docMk/>
            <pc:sldMk cId="0" sldId="597"/>
            <ac:spMk id="3" creationId="{84134EB9-5A78-0ED8-8B56-4192FB6059BF}"/>
          </ac:spMkLst>
        </pc:spChg>
        <pc:spChg chg="add del mod">
          <ac:chgData name="Łukasz Bartnicki" userId="f5fa5770-7d4b-4839-bd65-47daadd6c741" providerId="ADAL" clId="{DD1D0391-8C74-4C48-AA28-098DF531FE2F}" dt="2024-01-09T14:37:23.320" v="2428"/>
          <ac:spMkLst>
            <pc:docMk/>
            <pc:sldMk cId="0" sldId="597"/>
            <ac:spMk id="4" creationId="{5EBA1A50-D432-6065-2672-51B720837EC1}"/>
          </ac:spMkLst>
        </pc:spChg>
        <pc:spChg chg="add mod">
          <ac:chgData name="Łukasz Bartnicki" userId="f5fa5770-7d4b-4839-bd65-47daadd6c741" providerId="ADAL" clId="{DD1D0391-8C74-4C48-AA28-098DF531FE2F}" dt="2024-01-09T14:38:16.619" v="2457" actId="20577"/>
          <ac:spMkLst>
            <pc:docMk/>
            <pc:sldMk cId="0" sldId="597"/>
            <ac:spMk id="5" creationId="{AC6BC548-4FFB-0035-402D-F27400FE7334}"/>
          </ac:spMkLst>
        </pc:spChg>
        <pc:spChg chg="del mod">
          <ac:chgData name="Łukasz Bartnicki" userId="f5fa5770-7d4b-4839-bd65-47daadd6c741" providerId="ADAL" clId="{DD1D0391-8C74-4C48-AA28-098DF531FE2F}" dt="2024-01-09T14:37:01.256" v="2421" actId="478"/>
          <ac:spMkLst>
            <pc:docMk/>
            <pc:sldMk cId="0" sldId="597"/>
            <ac:spMk id="14" creationId="{00000000-0000-0000-0000-000000000000}"/>
          </ac:spMkLst>
        </pc:spChg>
        <pc:spChg chg="add del">
          <ac:chgData name="Łukasz Bartnicki" userId="f5fa5770-7d4b-4839-bd65-47daadd6c741" providerId="ADAL" clId="{DD1D0391-8C74-4C48-AA28-098DF531FE2F}" dt="2024-01-09T14:37:28.173" v="2432" actId="478"/>
          <ac:spMkLst>
            <pc:docMk/>
            <pc:sldMk cId="0" sldId="597"/>
            <ac:spMk id="17" creationId="{C9BFCF1E-FE7E-4E52-B429-1A2987159626}"/>
          </ac:spMkLst>
        </pc:spChg>
        <pc:picChg chg="add del mod modCrop">
          <ac:chgData name="Łukasz Bartnicki" userId="f5fa5770-7d4b-4839-bd65-47daadd6c741" providerId="ADAL" clId="{DD1D0391-8C74-4C48-AA28-098DF531FE2F}" dt="2024-01-09T14:37:37.225" v="2433" actId="732"/>
          <ac:picMkLst>
            <pc:docMk/>
            <pc:sldMk cId="0" sldId="597"/>
            <ac:picMk id="16" creationId="{00000000-0000-0000-0000-000000000000}"/>
          </ac:picMkLst>
        </pc:picChg>
      </pc:sldChg>
      <pc:sldChg chg="addSp delSp modSp mod">
        <pc:chgData name="Łukasz Bartnicki" userId="f5fa5770-7d4b-4839-bd65-47daadd6c741" providerId="ADAL" clId="{DD1D0391-8C74-4C48-AA28-098DF531FE2F}" dt="2024-01-09T14:41:00.297" v="2624" actId="20577"/>
        <pc:sldMkLst>
          <pc:docMk/>
          <pc:sldMk cId="0" sldId="598"/>
        </pc:sldMkLst>
        <pc:spChg chg="add del mod">
          <ac:chgData name="Łukasz Bartnicki" userId="f5fa5770-7d4b-4839-bd65-47daadd6c741" providerId="ADAL" clId="{DD1D0391-8C74-4C48-AA28-098DF531FE2F}" dt="2024-01-09T14:39:03.836" v="2486" actId="478"/>
          <ac:spMkLst>
            <pc:docMk/>
            <pc:sldMk cId="0" sldId="598"/>
            <ac:spMk id="3" creationId="{0C35C1E7-421B-4033-349F-07C437628A13}"/>
          </ac:spMkLst>
        </pc:spChg>
        <pc:spChg chg="add mod">
          <ac:chgData name="Łukasz Bartnicki" userId="f5fa5770-7d4b-4839-bd65-47daadd6c741" providerId="ADAL" clId="{DD1D0391-8C74-4C48-AA28-098DF531FE2F}" dt="2024-01-09T14:39:16.023" v="2507"/>
          <ac:spMkLst>
            <pc:docMk/>
            <pc:sldMk cId="0" sldId="598"/>
            <ac:spMk id="4" creationId="{B8D9A9F7-D3F4-7285-6349-B6F61DABDEC9}"/>
          </ac:spMkLst>
        </pc:spChg>
        <pc:spChg chg="del mod">
          <ac:chgData name="Łukasz Bartnicki" userId="f5fa5770-7d4b-4839-bd65-47daadd6c741" providerId="ADAL" clId="{DD1D0391-8C74-4C48-AA28-098DF531FE2F}" dt="2024-01-09T14:39:00.793" v="2484" actId="478"/>
          <ac:spMkLst>
            <pc:docMk/>
            <pc:sldMk cId="0" sldId="598"/>
            <ac:spMk id="40" creationId="{00000000-0000-0000-0000-000000000000}"/>
          </ac:spMkLst>
        </pc:spChg>
        <pc:spChg chg="mod">
          <ac:chgData name="Łukasz Bartnicki" userId="f5fa5770-7d4b-4839-bd65-47daadd6c741" providerId="ADAL" clId="{DD1D0391-8C74-4C48-AA28-098DF531FE2F}" dt="2024-01-09T14:41:00.297" v="2624" actId="20577"/>
          <ac:spMkLst>
            <pc:docMk/>
            <pc:sldMk cId="0" sldId="598"/>
            <ac:spMk id="47" creationId="{00000000-0000-0000-0000-000000000000}"/>
          </ac:spMkLst>
        </pc:spChg>
        <pc:spChg chg="mod">
          <ac:chgData name="Łukasz Bartnicki" userId="f5fa5770-7d4b-4839-bd65-47daadd6c741" providerId="ADAL" clId="{DD1D0391-8C74-4C48-AA28-098DF531FE2F}" dt="2024-01-09T14:39:24.267" v="2523" actId="1036"/>
          <ac:spMkLst>
            <pc:docMk/>
            <pc:sldMk cId="0" sldId="598"/>
            <ac:spMk id="54" creationId="{F235C5FA-76F0-4940-874F-D8BCE57D8736}"/>
          </ac:spMkLst>
        </pc:spChg>
        <pc:spChg chg="mod">
          <ac:chgData name="Łukasz Bartnicki" userId="f5fa5770-7d4b-4839-bd65-47daadd6c741" providerId="ADAL" clId="{DD1D0391-8C74-4C48-AA28-098DF531FE2F}" dt="2024-01-09T14:38:56.133" v="2483" actId="20577"/>
          <ac:spMkLst>
            <pc:docMk/>
            <pc:sldMk cId="0" sldId="598"/>
            <ac:spMk id="55" creationId="{CBBCC2DC-2621-432D-996C-C130D183622C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4:38:25.795" v="2461"/>
        <pc:sldMkLst>
          <pc:docMk/>
          <pc:sldMk cId="0" sldId="599"/>
        </pc:sldMkLst>
        <pc:spChg chg="add del mod">
          <ac:chgData name="Łukasz Bartnicki" userId="f5fa5770-7d4b-4839-bd65-47daadd6c741" providerId="ADAL" clId="{DD1D0391-8C74-4C48-AA28-098DF531FE2F}" dt="2024-01-09T14:38:25.392" v="2460" actId="478"/>
          <ac:spMkLst>
            <pc:docMk/>
            <pc:sldMk cId="0" sldId="599"/>
            <ac:spMk id="3" creationId="{F6D53A29-090B-5DA5-6387-28C506F8A67B}"/>
          </ac:spMkLst>
        </pc:spChg>
        <pc:spChg chg="add mod">
          <ac:chgData name="Łukasz Bartnicki" userId="f5fa5770-7d4b-4839-bd65-47daadd6c741" providerId="ADAL" clId="{DD1D0391-8C74-4C48-AA28-098DF531FE2F}" dt="2024-01-09T14:38:25.795" v="2461"/>
          <ac:spMkLst>
            <pc:docMk/>
            <pc:sldMk cId="0" sldId="599"/>
            <ac:spMk id="4" creationId="{7899D73A-0756-382A-FE69-DB7226E01FD6}"/>
          </ac:spMkLst>
        </pc:spChg>
        <pc:spChg chg="del mod">
          <ac:chgData name="Łukasz Bartnicki" userId="f5fa5770-7d4b-4839-bd65-47daadd6c741" providerId="ADAL" clId="{DD1D0391-8C74-4C48-AA28-098DF531FE2F}" dt="2024-01-09T14:38:23.144" v="2458" actId="478"/>
          <ac:spMkLst>
            <pc:docMk/>
            <pc:sldMk cId="0" sldId="599"/>
            <ac:spMk id="40" creationId="{00000000-0000-0000-0000-000000000000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4:36:53.701" v="2420" actId="13926"/>
        <pc:sldMkLst>
          <pc:docMk/>
          <pc:sldMk cId="0" sldId="600"/>
        </pc:sldMkLst>
        <pc:spChg chg="del mod">
          <ac:chgData name="Łukasz Bartnicki" userId="f5fa5770-7d4b-4839-bd65-47daadd6c741" providerId="ADAL" clId="{DD1D0391-8C74-4C48-AA28-098DF531FE2F}" dt="2024-01-09T14:35:31.602" v="2359" actId="478"/>
          <ac:spMkLst>
            <pc:docMk/>
            <pc:sldMk cId="0" sldId="600"/>
            <ac:spMk id="2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4:35:33.132" v="2361" actId="478"/>
          <ac:spMkLst>
            <pc:docMk/>
            <pc:sldMk cId="0" sldId="600"/>
            <ac:spMk id="4" creationId="{0EC666B8-3841-D316-D990-3E14C24B18CE}"/>
          </ac:spMkLst>
        </pc:spChg>
        <pc:spChg chg="add mod">
          <ac:chgData name="Łukasz Bartnicki" userId="f5fa5770-7d4b-4839-bd65-47daadd6c741" providerId="ADAL" clId="{DD1D0391-8C74-4C48-AA28-098DF531FE2F}" dt="2024-01-09T14:36:11.219" v="2410" actId="20577"/>
          <ac:spMkLst>
            <pc:docMk/>
            <pc:sldMk cId="0" sldId="600"/>
            <ac:spMk id="6" creationId="{E721293A-2023-333A-C81A-57E47910423A}"/>
          </ac:spMkLst>
        </pc:spChg>
        <pc:spChg chg="mod">
          <ac:chgData name="Łukasz Bartnicki" userId="f5fa5770-7d4b-4839-bd65-47daadd6c741" providerId="ADAL" clId="{DD1D0391-8C74-4C48-AA28-098DF531FE2F}" dt="2024-01-09T14:36:53.701" v="2420" actId="13926"/>
          <ac:spMkLst>
            <pc:docMk/>
            <pc:sldMk cId="0" sldId="600"/>
            <ac:spMk id="8" creationId="{29C2A2A2-9C1D-429D-96AD-93C669F15A3A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4:25:17.688" v="2129" actId="20577"/>
        <pc:sldMkLst>
          <pc:docMk/>
          <pc:sldMk cId="0" sldId="601"/>
        </pc:sldMkLst>
        <pc:spChg chg="del">
          <ac:chgData name="Łukasz Bartnicki" userId="f5fa5770-7d4b-4839-bd65-47daadd6c741" providerId="ADAL" clId="{DD1D0391-8C74-4C48-AA28-098DF531FE2F}" dt="2024-01-09T14:25:08.144" v="2125" actId="478"/>
          <ac:spMkLst>
            <pc:docMk/>
            <pc:sldMk cId="0" sldId="601"/>
            <ac:spMk id="2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4:25:11.099" v="2127" actId="478"/>
          <ac:spMkLst>
            <pc:docMk/>
            <pc:sldMk cId="0" sldId="601"/>
            <ac:spMk id="4" creationId="{70E96206-07E2-3363-E406-E6287EA3CF87}"/>
          </ac:spMkLst>
        </pc:spChg>
        <pc:spChg chg="add mod">
          <ac:chgData name="Łukasz Bartnicki" userId="f5fa5770-7d4b-4839-bd65-47daadd6c741" providerId="ADAL" clId="{DD1D0391-8C74-4C48-AA28-098DF531FE2F}" dt="2024-01-09T14:25:11.889" v="2128"/>
          <ac:spMkLst>
            <pc:docMk/>
            <pc:sldMk cId="0" sldId="601"/>
            <ac:spMk id="5" creationId="{8CA171C0-E599-F7A8-B638-48811CF88851}"/>
          </ac:spMkLst>
        </pc:spChg>
        <pc:spChg chg="mod">
          <ac:chgData name="Łukasz Bartnicki" userId="f5fa5770-7d4b-4839-bd65-47daadd6c741" providerId="ADAL" clId="{DD1D0391-8C74-4C48-AA28-098DF531FE2F}" dt="2024-01-09T14:25:17.688" v="2129" actId="20577"/>
          <ac:spMkLst>
            <pc:docMk/>
            <pc:sldMk cId="0" sldId="601"/>
            <ac:spMk id="29" creationId="{00000000-0000-0000-0000-000000000000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4:41:23.540" v="2632" actId="20577"/>
        <pc:sldMkLst>
          <pc:docMk/>
          <pc:sldMk cId="0" sldId="602"/>
        </pc:sldMkLst>
        <pc:spChg chg="del">
          <ac:chgData name="Łukasz Bartnicki" userId="f5fa5770-7d4b-4839-bd65-47daadd6c741" providerId="ADAL" clId="{DD1D0391-8C74-4C48-AA28-098DF531FE2F}" dt="2024-01-09T14:25:39.363" v="2164" actId="478"/>
          <ac:spMkLst>
            <pc:docMk/>
            <pc:sldMk cId="0" sldId="602"/>
            <ac:spMk id="2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4:25:41.247" v="2166" actId="478"/>
          <ac:spMkLst>
            <pc:docMk/>
            <pc:sldMk cId="0" sldId="602"/>
            <ac:spMk id="11" creationId="{D4DFED52-21B6-7449-C21A-374CE6EA8E53}"/>
          </ac:spMkLst>
        </pc:spChg>
        <pc:spChg chg="add mod">
          <ac:chgData name="Łukasz Bartnicki" userId="f5fa5770-7d4b-4839-bd65-47daadd6c741" providerId="ADAL" clId="{DD1D0391-8C74-4C48-AA28-098DF531FE2F}" dt="2024-01-09T14:41:23.540" v="2632" actId="20577"/>
          <ac:spMkLst>
            <pc:docMk/>
            <pc:sldMk cId="0" sldId="602"/>
            <ac:spMk id="12" creationId="{80F72402-40B7-99E3-6320-8176806E982B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4:25:34.728" v="2163" actId="20577"/>
        <pc:sldMkLst>
          <pc:docMk/>
          <pc:sldMk cId="0" sldId="603"/>
        </pc:sldMkLst>
        <pc:spChg chg="del">
          <ac:chgData name="Łukasz Bartnicki" userId="f5fa5770-7d4b-4839-bd65-47daadd6c741" providerId="ADAL" clId="{DD1D0391-8C74-4C48-AA28-098DF531FE2F}" dt="2024-01-09T14:25:24.859" v="2130" actId="478"/>
          <ac:spMkLst>
            <pc:docMk/>
            <pc:sldMk cId="0" sldId="603"/>
            <ac:spMk id="2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4:25:26.895" v="2132" actId="478"/>
          <ac:spMkLst>
            <pc:docMk/>
            <pc:sldMk cId="0" sldId="603"/>
            <ac:spMk id="4" creationId="{63D6BA2D-62B9-67E0-5A79-A6CA04742C3F}"/>
          </ac:spMkLst>
        </pc:spChg>
        <pc:spChg chg="add mod">
          <ac:chgData name="Łukasz Bartnicki" userId="f5fa5770-7d4b-4839-bd65-47daadd6c741" providerId="ADAL" clId="{DD1D0391-8C74-4C48-AA28-098DF531FE2F}" dt="2024-01-09T14:25:34.728" v="2163" actId="20577"/>
          <ac:spMkLst>
            <pc:docMk/>
            <pc:sldMk cId="0" sldId="603"/>
            <ac:spMk id="5" creationId="{DB05AB31-0FC4-4936-F3D0-A687BC5B268F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4:17:56.861" v="1991" actId="20577"/>
        <pc:sldMkLst>
          <pc:docMk/>
          <pc:sldMk cId="0" sldId="604"/>
        </pc:sldMkLst>
        <pc:spChg chg="del mod">
          <ac:chgData name="Łukasz Bartnicki" userId="f5fa5770-7d4b-4839-bd65-47daadd6c741" providerId="ADAL" clId="{DD1D0391-8C74-4C48-AA28-098DF531FE2F}" dt="2024-01-09T14:15:15.022" v="1958" actId="478"/>
          <ac:spMkLst>
            <pc:docMk/>
            <pc:sldMk cId="0" sldId="604"/>
            <ac:spMk id="2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4:15:16.591" v="1960" actId="478"/>
          <ac:spMkLst>
            <pc:docMk/>
            <pc:sldMk cId="0" sldId="604"/>
            <ac:spMk id="5" creationId="{34977CC0-DA21-174B-7C63-14C54F23FA1E}"/>
          </ac:spMkLst>
        </pc:spChg>
        <pc:spChg chg="add mod">
          <ac:chgData name="Łukasz Bartnicki" userId="f5fa5770-7d4b-4839-bd65-47daadd6c741" providerId="ADAL" clId="{DD1D0391-8C74-4C48-AA28-098DF531FE2F}" dt="2024-01-09T14:17:56.861" v="1991" actId="20577"/>
          <ac:spMkLst>
            <pc:docMk/>
            <pc:sldMk cId="0" sldId="604"/>
            <ac:spMk id="7" creationId="{F99EFE39-B26D-FED2-FFC3-D2647D3A1408}"/>
          </ac:spMkLst>
        </pc:spChg>
        <pc:picChg chg="mod">
          <ac:chgData name="Łukasz Bartnicki" userId="f5fa5770-7d4b-4839-bd65-47daadd6c741" providerId="ADAL" clId="{DD1D0391-8C74-4C48-AA28-098DF531FE2F}" dt="2024-01-09T14:15:50.345" v="1976" actId="1076"/>
          <ac:picMkLst>
            <pc:docMk/>
            <pc:sldMk cId="0" sldId="604"/>
            <ac:picMk id="6" creationId="{00000000-0000-0000-0000-000000000000}"/>
          </ac:picMkLst>
        </pc:picChg>
      </pc:sldChg>
      <pc:sldChg chg="addSp delSp modSp mod">
        <pc:chgData name="Łukasz Bartnicki" userId="f5fa5770-7d4b-4839-bd65-47daadd6c741" providerId="ADAL" clId="{DD1D0391-8C74-4C48-AA28-098DF531FE2F}" dt="2024-01-09T14:14:44.858" v="1957" actId="2711"/>
        <pc:sldMkLst>
          <pc:docMk/>
          <pc:sldMk cId="0" sldId="605"/>
        </pc:sldMkLst>
        <pc:spChg chg="add del mod">
          <ac:chgData name="Łukasz Bartnicki" userId="f5fa5770-7d4b-4839-bd65-47daadd6c741" providerId="ADAL" clId="{DD1D0391-8C74-4C48-AA28-098DF531FE2F}" dt="2024-01-09T14:14:25.754" v="1933" actId="478"/>
          <ac:spMkLst>
            <pc:docMk/>
            <pc:sldMk cId="0" sldId="605"/>
            <ac:spMk id="2" creationId="{00000000-0000-0000-0000-000000000000}"/>
          </ac:spMkLst>
        </pc:spChg>
        <pc:spChg chg="mod">
          <ac:chgData name="Łukasz Bartnicki" userId="f5fa5770-7d4b-4839-bd65-47daadd6c741" providerId="ADAL" clId="{DD1D0391-8C74-4C48-AA28-098DF531FE2F}" dt="2024-01-09T14:14:44.858" v="1957" actId="2711"/>
          <ac:spMkLst>
            <pc:docMk/>
            <pc:sldMk cId="0" sldId="605"/>
            <ac:spMk id="4" creationId="{29C2A2A2-9C1D-429D-96AD-93C669F15A3A}"/>
          </ac:spMkLst>
        </pc:spChg>
        <pc:spChg chg="add del mod">
          <ac:chgData name="Łukasz Bartnicki" userId="f5fa5770-7d4b-4839-bd65-47daadd6c741" providerId="ADAL" clId="{DD1D0391-8C74-4C48-AA28-098DF531FE2F}" dt="2024-01-09T14:14:23.701" v="1932" actId="478"/>
          <ac:spMkLst>
            <pc:docMk/>
            <pc:sldMk cId="0" sldId="605"/>
            <ac:spMk id="5" creationId="{51F0ABF7-E38F-4786-2402-8F9D144858FC}"/>
          </ac:spMkLst>
        </pc:spChg>
        <pc:spChg chg="add del mod">
          <ac:chgData name="Łukasz Bartnicki" userId="f5fa5770-7d4b-4839-bd65-47daadd6c741" providerId="ADAL" clId="{DD1D0391-8C74-4C48-AA28-098DF531FE2F}" dt="2024-01-09T14:14:28.478" v="1935" actId="478"/>
          <ac:spMkLst>
            <pc:docMk/>
            <pc:sldMk cId="0" sldId="605"/>
            <ac:spMk id="8" creationId="{E94250A9-4D0F-46B4-A972-DA10CF82F58C}"/>
          </ac:spMkLst>
        </pc:spChg>
        <pc:spChg chg="add mod">
          <ac:chgData name="Łukasz Bartnicki" userId="f5fa5770-7d4b-4839-bd65-47daadd6c741" providerId="ADAL" clId="{DD1D0391-8C74-4C48-AA28-098DF531FE2F}" dt="2024-01-09T14:14:39.205" v="1956" actId="20577"/>
          <ac:spMkLst>
            <pc:docMk/>
            <pc:sldMk cId="0" sldId="605"/>
            <ac:spMk id="9" creationId="{00A17A89-0145-8739-48FF-311CEEB5B019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4:14:16.577" v="1929"/>
        <pc:sldMkLst>
          <pc:docMk/>
          <pc:sldMk cId="0" sldId="606"/>
        </pc:sldMkLst>
        <pc:spChg chg="del">
          <ac:chgData name="Łukasz Bartnicki" userId="f5fa5770-7d4b-4839-bd65-47daadd6c741" providerId="ADAL" clId="{DD1D0391-8C74-4C48-AA28-098DF531FE2F}" dt="2024-01-09T14:14:11.230" v="1926" actId="478"/>
          <ac:spMkLst>
            <pc:docMk/>
            <pc:sldMk cId="0" sldId="606"/>
            <ac:spMk id="8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4:14:16.092" v="1928" actId="478"/>
          <ac:spMkLst>
            <pc:docMk/>
            <pc:sldMk cId="0" sldId="606"/>
            <ac:spMk id="9" creationId="{CB8D804D-442D-F0FB-9441-09FD81FB51E7}"/>
          </ac:spMkLst>
        </pc:spChg>
        <pc:spChg chg="add mod">
          <ac:chgData name="Łukasz Bartnicki" userId="f5fa5770-7d4b-4839-bd65-47daadd6c741" providerId="ADAL" clId="{DD1D0391-8C74-4C48-AA28-098DF531FE2F}" dt="2024-01-09T14:14:16.577" v="1929"/>
          <ac:spMkLst>
            <pc:docMk/>
            <pc:sldMk cId="0" sldId="606"/>
            <ac:spMk id="11" creationId="{015E6CF3-6F73-8E9B-4561-67EE7B171BA7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4:14:05.140" v="1925" actId="20577"/>
        <pc:sldMkLst>
          <pc:docMk/>
          <pc:sldMk cId="0" sldId="607"/>
        </pc:sldMkLst>
        <pc:spChg chg="del mod">
          <ac:chgData name="Łukasz Bartnicki" userId="f5fa5770-7d4b-4839-bd65-47daadd6c741" providerId="ADAL" clId="{DD1D0391-8C74-4C48-AA28-098DF531FE2F}" dt="2024-01-09T14:08:16.804" v="1864" actId="478"/>
          <ac:spMkLst>
            <pc:docMk/>
            <pc:sldMk cId="0" sldId="607"/>
            <ac:spMk id="2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4:08:23.644" v="1866" actId="478"/>
          <ac:spMkLst>
            <pc:docMk/>
            <pc:sldMk cId="0" sldId="607"/>
            <ac:spMk id="4" creationId="{0EFEC9C1-5CB9-EFFD-7A95-6061C2583314}"/>
          </ac:spMkLst>
        </pc:spChg>
        <pc:spChg chg="add mod">
          <ac:chgData name="Łukasz Bartnicki" userId="f5fa5770-7d4b-4839-bd65-47daadd6c741" providerId="ADAL" clId="{DD1D0391-8C74-4C48-AA28-098DF531FE2F}" dt="2024-01-09T14:08:28.221" v="1880" actId="20577"/>
          <ac:spMkLst>
            <pc:docMk/>
            <pc:sldMk cId="0" sldId="607"/>
            <ac:spMk id="7" creationId="{B67E13C2-D75A-96B4-AFA3-101E101CFC69}"/>
          </ac:spMkLst>
        </pc:spChg>
        <pc:spChg chg="mod">
          <ac:chgData name="Łukasz Bartnicki" userId="f5fa5770-7d4b-4839-bd65-47daadd6c741" providerId="ADAL" clId="{DD1D0391-8C74-4C48-AA28-098DF531FE2F}" dt="2024-01-09T14:14:05.140" v="1925" actId="20577"/>
          <ac:spMkLst>
            <pc:docMk/>
            <pc:sldMk cId="0" sldId="607"/>
            <ac:spMk id="14" creationId="{283B455A-4BDA-4484-8976-5CD8AAE5E871}"/>
          </ac:spMkLst>
        </pc:spChg>
        <pc:picChg chg="mod">
          <ac:chgData name="Łukasz Bartnicki" userId="f5fa5770-7d4b-4839-bd65-47daadd6c741" providerId="ADAL" clId="{DD1D0391-8C74-4C48-AA28-098DF531FE2F}" dt="2024-01-09T14:08:11.544" v="1863" actId="1076"/>
          <ac:picMkLst>
            <pc:docMk/>
            <pc:sldMk cId="0" sldId="607"/>
            <ac:picMk id="5" creationId="{901140AD-99ED-4CD3-894C-3D7039013964}"/>
          </ac:picMkLst>
        </pc:picChg>
        <pc:picChg chg="mod">
          <ac:chgData name="Łukasz Bartnicki" userId="f5fa5770-7d4b-4839-bd65-47daadd6c741" providerId="ADAL" clId="{DD1D0391-8C74-4C48-AA28-098DF531FE2F}" dt="2024-01-09T14:08:06.794" v="1862" actId="1076"/>
          <ac:picMkLst>
            <pc:docMk/>
            <pc:sldMk cId="0" sldId="607"/>
            <ac:picMk id="6" creationId="{248CD70C-2465-46FD-999F-F5B56502F32F}"/>
          </ac:picMkLst>
        </pc:picChg>
      </pc:sldChg>
      <pc:sldChg chg="addSp delSp modSp mod">
        <pc:chgData name="Łukasz Bartnicki" userId="f5fa5770-7d4b-4839-bd65-47daadd6c741" providerId="ADAL" clId="{DD1D0391-8C74-4C48-AA28-098DF531FE2F}" dt="2024-01-09T14:07:06.129" v="1844" actId="14100"/>
        <pc:sldMkLst>
          <pc:docMk/>
          <pc:sldMk cId="0" sldId="608"/>
        </pc:sldMkLst>
        <pc:spChg chg="del mod">
          <ac:chgData name="Łukasz Bartnicki" userId="f5fa5770-7d4b-4839-bd65-47daadd6c741" providerId="ADAL" clId="{DD1D0391-8C74-4C48-AA28-098DF531FE2F}" dt="2024-01-09T14:06:27.690" v="1835" actId="478"/>
          <ac:spMkLst>
            <pc:docMk/>
            <pc:sldMk cId="0" sldId="608"/>
            <ac:spMk id="3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4:06:28.970" v="1837" actId="478"/>
          <ac:spMkLst>
            <pc:docMk/>
            <pc:sldMk cId="0" sldId="608"/>
            <ac:spMk id="4" creationId="{51A7A35A-9839-334C-4D94-D720E9173029}"/>
          </ac:spMkLst>
        </pc:spChg>
        <pc:grpChg chg="del">
          <ac:chgData name="Łukasz Bartnicki" userId="f5fa5770-7d4b-4839-bd65-47daadd6c741" providerId="ADAL" clId="{DD1D0391-8C74-4C48-AA28-098DF531FE2F}" dt="2024-01-09T14:06:24.809" v="1833" actId="478"/>
          <ac:grpSpMkLst>
            <pc:docMk/>
            <pc:sldMk cId="0" sldId="608"/>
            <ac:grpSpMk id="10" creationId="{00000000-0000-0000-0000-000000000000}"/>
          </ac:grpSpMkLst>
        </pc:grpChg>
        <pc:picChg chg="del topLvl">
          <ac:chgData name="Łukasz Bartnicki" userId="f5fa5770-7d4b-4839-bd65-47daadd6c741" providerId="ADAL" clId="{DD1D0391-8C74-4C48-AA28-098DF531FE2F}" dt="2024-01-09T14:06:24.809" v="1833" actId="478"/>
          <ac:picMkLst>
            <pc:docMk/>
            <pc:sldMk cId="0" sldId="608"/>
            <ac:picMk id="5" creationId="{A6594410-A456-4F7E-A0DA-620DC69297C7}"/>
          </ac:picMkLst>
        </pc:picChg>
        <pc:picChg chg="del topLvl">
          <ac:chgData name="Łukasz Bartnicki" userId="f5fa5770-7d4b-4839-bd65-47daadd6c741" providerId="ADAL" clId="{DD1D0391-8C74-4C48-AA28-098DF531FE2F}" dt="2024-01-09T14:06:25.140" v="1834" actId="478"/>
          <ac:picMkLst>
            <pc:docMk/>
            <pc:sldMk cId="0" sldId="608"/>
            <ac:picMk id="7" creationId="{A6594410-A456-4F7E-A0DA-620DC69297C7}"/>
          </ac:picMkLst>
        </pc:picChg>
        <pc:picChg chg="add mod">
          <ac:chgData name="Łukasz Bartnicki" userId="f5fa5770-7d4b-4839-bd65-47daadd6c741" providerId="ADAL" clId="{DD1D0391-8C74-4C48-AA28-098DF531FE2F}" dt="2024-01-09T14:06:37.516" v="1841" actId="1076"/>
          <ac:picMkLst>
            <pc:docMk/>
            <pc:sldMk cId="0" sldId="608"/>
            <ac:picMk id="9" creationId="{F488816A-013F-E4DF-D62D-4707E32E85F8}"/>
          </ac:picMkLst>
        </pc:picChg>
        <pc:picChg chg="add mod">
          <ac:chgData name="Łukasz Bartnicki" userId="f5fa5770-7d4b-4839-bd65-47daadd6c741" providerId="ADAL" clId="{DD1D0391-8C74-4C48-AA28-098DF531FE2F}" dt="2024-01-09T14:07:06.129" v="1844" actId="14100"/>
          <ac:picMkLst>
            <pc:docMk/>
            <pc:sldMk cId="0" sldId="608"/>
            <ac:picMk id="13" creationId="{3E908A41-EB88-5131-1F37-A6C6FA085B7B}"/>
          </ac:picMkLst>
        </pc:picChg>
      </pc:sldChg>
      <pc:sldChg chg="addSp delSp modSp mod">
        <pc:chgData name="Łukasz Bartnicki" userId="f5fa5770-7d4b-4839-bd65-47daadd6c741" providerId="ADAL" clId="{DD1D0391-8C74-4C48-AA28-098DF531FE2F}" dt="2024-01-09T14:03:38.694" v="1594" actId="20577"/>
        <pc:sldMkLst>
          <pc:docMk/>
          <pc:sldMk cId="0" sldId="609"/>
        </pc:sldMkLst>
        <pc:spChg chg="del mod">
          <ac:chgData name="Łukasz Bartnicki" userId="f5fa5770-7d4b-4839-bd65-47daadd6c741" providerId="ADAL" clId="{DD1D0391-8C74-4C48-AA28-098DF531FE2F}" dt="2024-01-09T14:03:24.773" v="1550" actId="478"/>
          <ac:spMkLst>
            <pc:docMk/>
            <pc:sldMk cId="0" sldId="609"/>
            <ac:spMk id="2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4:03:26.093" v="1552" actId="478"/>
          <ac:spMkLst>
            <pc:docMk/>
            <pc:sldMk cId="0" sldId="609"/>
            <ac:spMk id="8" creationId="{B28D1E7B-8B4A-126A-4562-6AC036077780}"/>
          </ac:spMkLst>
        </pc:spChg>
        <pc:spChg chg="add mod">
          <ac:chgData name="Łukasz Bartnicki" userId="f5fa5770-7d4b-4839-bd65-47daadd6c741" providerId="ADAL" clId="{DD1D0391-8C74-4C48-AA28-098DF531FE2F}" dt="2024-01-09T14:03:38.694" v="1594" actId="20577"/>
          <ac:spMkLst>
            <pc:docMk/>
            <pc:sldMk cId="0" sldId="609"/>
            <ac:spMk id="9" creationId="{C18D1A6E-D38B-6C8E-894A-86603BA6622A}"/>
          </ac:spMkLst>
        </pc:spChg>
      </pc:sldChg>
      <pc:sldChg chg="addSp delSp modSp mod modNotesTx">
        <pc:chgData name="Łukasz Bartnicki" userId="f5fa5770-7d4b-4839-bd65-47daadd6c741" providerId="ADAL" clId="{DD1D0391-8C74-4C48-AA28-098DF531FE2F}" dt="2024-01-09T14:04:37.896" v="1709" actId="20577"/>
        <pc:sldMkLst>
          <pc:docMk/>
          <pc:sldMk cId="0" sldId="610"/>
        </pc:sldMkLst>
        <pc:spChg chg="del mod">
          <ac:chgData name="Łukasz Bartnicki" userId="f5fa5770-7d4b-4839-bd65-47daadd6c741" providerId="ADAL" clId="{DD1D0391-8C74-4C48-AA28-098DF531FE2F}" dt="2024-01-09T14:04:10.611" v="1607" actId="478"/>
          <ac:spMkLst>
            <pc:docMk/>
            <pc:sldMk cId="0" sldId="610"/>
            <ac:spMk id="2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4:04:11.850" v="1609" actId="478"/>
          <ac:spMkLst>
            <pc:docMk/>
            <pc:sldMk cId="0" sldId="610"/>
            <ac:spMk id="5" creationId="{078379A0-67ED-8830-45BC-0B5D4AECFD93}"/>
          </ac:spMkLst>
        </pc:spChg>
        <pc:spChg chg="add mod">
          <ac:chgData name="Łukasz Bartnicki" userId="f5fa5770-7d4b-4839-bd65-47daadd6c741" providerId="ADAL" clId="{DD1D0391-8C74-4C48-AA28-098DF531FE2F}" dt="2024-01-09T14:04:17.108" v="1616" actId="20577"/>
          <ac:spMkLst>
            <pc:docMk/>
            <pc:sldMk cId="0" sldId="610"/>
            <ac:spMk id="6" creationId="{DB0AC261-AFC8-8848-51C3-6F7E1D79F5D5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4:03:57.858" v="1606" actId="20577"/>
        <pc:sldMkLst>
          <pc:docMk/>
          <pc:sldMk cId="0" sldId="611"/>
        </pc:sldMkLst>
        <pc:spChg chg="del mod">
          <ac:chgData name="Łukasz Bartnicki" userId="f5fa5770-7d4b-4839-bd65-47daadd6c741" providerId="ADAL" clId="{DD1D0391-8C74-4C48-AA28-098DF531FE2F}" dt="2024-01-09T14:03:44.952" v="1595" actId="478"/>
          <ac:spMkLst>
            <pc:docMk/>
            <pc:sldMk cId="0" sldId="611"/>
            <ac:spMk id="2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4:03:46.880" v="1597" actId="478"/>
          <ac:spMkLst>
            <pc:docMk/>
            <pc:sldMk cId="0" sldId="611"/>
            <ac:spMk id="4" creationId="{4A048F3C-71EA-E5EE-87DC-46F4DB3F8495}"/>
          </ac:spMkLst>
        </pc:spChg>
        <pc:spChg chg="add mod">
          <ac:chgData name="Łukasz Bartnicki" userId="f5fa5770-7d4b-4839-bd65-47daadd6c741" providerId="ADAL" clId="{DD1D0391-8C74-4C48-AA28-098DF531FE2F}" dt="2024-01-09T14:03:57.858" v="1606" actId="20577"/>
          <ac:spMkLst>
            <pc:docMk/>
            <pc:sldMk cId="0" sldId="611"/>
            <ac:spMk id="5" creationId="{5E91CA0D-D779-F82D-97F1-4488E5268DC7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4:03:13.716" v="1548" actId="1076"/>
        <pc:sldMkLst>
          <pc:docMk/>
          <pc:sldMk cId="0" sldId="612"/>
        </pc:sldMkLst>
        <pc:spChg chg="del mod">
          <ac:chgData name="Łukasz Bartnicki" userId="f5fa5770-7d4b-4839-bd65-47daadd6c741" providerId="ADAL" clId="{DD1D0391-8C74-4C48-AA28-098DF531FE2F}" dt="2024-01-09T14:02:57.472" v="1531" actId="478"/>
          <ac:spMkLst>
            <pc:docMk/>
            <pc:sldMk cId="0" sldId="612"/>
            <ac:spMk id="2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4:02:58.475" v="1533" actId="478"/>
          <ac:spMkLst>
            <pc:docMk/>
            <pc:sldMk cId="0" sldId="612"/>
            <ac:spMk id="6" creationId="{167DDE17-6071-90D8-A0F8-7AF73E246AFF}"/>
          </ac:spMkLst>
        </pc:spChg>
        <pc:spChg chg="add mod">
          <ac:chgData name="Łukasz Bartnicki" userId="f5fa5770-7d4b-4839-bd65-47daadd6c741" providerId="ADAL" clId="{DD1D0391-8C74-4C48-AA28-098DF531FE2F}" dt="2024-01-09T14:03:13.716" v="1548" actId="1076"/>
          <ac:spMkLst>
            <pc:docMk/>
            <pc:sldMk cId="0" sldId="612"/>
            <ac:spMk id="7" creationId="{25AF27AA-DF36-6C5C-D8EB-1E2A4874251B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4:03:18.729" v="1549" actId="1076"/>
        <pc:sldMkLst>
          <pc:docMk/>
          <pc:sldMk cId="0" sldId="613"/>
        </pc:sldMkLst>
        <pc:spChg chg="del mod">
          <ac:chgData name="Łukasz Bartnicki" userId="f5fa5770-7d4b-4839-bd65-47daadd6c741" providerId="ADAL" clId="{DD1D0391-8C74-4C48-AA28-098DF531FE2F}" dt="2024-01-09T14:02:36.410" v="1499" actId="478"/>
          <ac:spMkLst>
            <pc:docMk/>
            <pc:sldMk cId="0" sldId="613"/>
            <ac:spMk id="2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4:02:37.997" v="1501" actId="478"/>
          <ac:spMkLst>
            <pc:docMk/>
            <pc:sldMk cId="0" sldId="613"/>
            <ac:spMk id="6" creationId="{3126542B-DFA2-2DCC-AC58-925E8691957F}"/>
          </ac:spMkLst>
        </pc:spChg>
        <pc:spChg chg="add mod">
          <ac:chgData name="Łukasz Bartnicki" userId="f5fa5770-7d4b-4839-bd65-47daadd6c741" providerId="ADAL" clId="{DD1D0391-8C74-4C48-AA28-098DF531FE2F}" dt="2024-01-09T14:03:18.729" v="1549" actId="1076"/>
          <ac:spMkLst>
            <pc:docMk/>
            <pc:sldMk cId="0" sldId="613"/>
            <ac:spMk id="7" creationId="{984F0FF8-711F-59D3-A85C-3E5E32CB39D7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4:01:08.981" v="1488"/>
        <pc:sldMkLst>
          <pc:docMk/>
          <pc:sldMk cId="0" sldId="614"/>
        </pc:sldMkLst>
        <pc:spChg chg="del">
          <ac:chgData name="Łukasz Bartnicki" userId="f5fa5770-7d4b-4839-bd65-47daadd6c741" providerId="ADAL" clId="{DD1D0391-8C74-4C48-AA28-098DF531FE2F}" dt="2024-01-09T14:01:06.226" v="1485" actId="478"/>
          <ac:spMkLst>
            <pc:docMk/>
            <pc:sldMk cId="0" sldId="614"/>
            <ac:spMk id="2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4:01:07.615" v="1487" actId="478"/>
          <ac:spMkLst>
            <pc:docMk/>
            <pc:sldMk cId="0" sldId="614"/>
            <ac:spMk id="6" creationId="{B19BAAED-8E8E-E5D0-DCE7-E1BD6A05F59F}"/>
          </ac:spMkLst>
        </pc:spChg>
        <pc:spChg chg="add mod">
          <ac:chgData name="Łukasz Bartnicki" userId="f5fa5770-7d4b-4839-bd65-47daadd6c741" providerId="ADAL" clId="{DD1D0391-8C74-4C48-AA28-098DF531FE2F}" dt="2024-01-09T14:01:08.981" v="1488"/>
          <ac:spMkLst>
            <pc:docMk/>
            <pc:sldMk cId="0" sldId="614"/>
            <ac:spMk id="8" creationId="{5312B3E1-17EE-9A05-3641-D242E5EAAA56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4:01:36.297" v="1498" actId="14100"/>
        <pc:sldMkLst>
          <pc:docMk/>
          <pc:sldMk cId="0" sldId="615"/>
        </pc:sldMkLst>
        <pc:spChg chg="del mod">
          <ac:chgData name="Łukasz Bartnicki" userId="f5fa5770-7d4b-4839-bd65-47daadd6c741" providerId="ADAL" clId="{DD1D0391-8C74-4C48-AA28-098DF531FE2F}" dt="2024-01-09T14:01:13.349" v="1489" actId="478"/>
          <ac:spMkLst>
            <pc:docMk/>
            <pc:sldMk cId="0" sldId="615"/>
            <ac:spMk id="2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4:01:14.014" v="1491" actId="478"/>
          <ac:spMkLst>
            <pc:docMk/>
            <pc:sldMk cId="0" sldId="615"/>
            <ac:spMk id="4" creationId="{A9A6888E-8ABE-2DB2-E29A-B69CE6988283}"/>
          </ac:spMkLst>
        </pc:spChg>
        <pc:spChg chg="add mod">
          <ac:chgData name="Łukasz Bartnicki" userId="f5fa5770-7d4b-4839-bd65-47daadd6c741" providerId="ADAL" clId="{DD1D0391-8C74-4C48-AA28-098DF531FE2F}" dt="2024-01-09T14:01:21.626" v="1494"/>
          <ac:spMkLst>
            <pc:docMk/>
            <pc:sldMk cId="0" sldId="615"/>
            <ac:spMk id="5" creationId="{511C4112-8EFA-8873-B29C-E54C5AD8B89B}"/>
          </ac:spMkLst>
        </pc:spChg>
        <pc:spChg chg="mod">
          <ac:chgData name="Łukasz Bartnicki" userId="f5fa5770-7d4b-4839-bd65-47daadd6c741" providerId="ADAL" clId="{DD1D0391-8C74-4C48-AA28-098DF531FE2F}" dt="2024-01-09T14:01:31.769" v="1497" actId="1076"/>
          <ac:spMkLst>
            <pc:docMk/>
            <pc:sldMk cId="0" sldId="615"/>
            <ac:spMk id="8" creationId="{29C2A2A2-9C1D-429D-96AD-93C669F15A3A}"/>
          </ac:spMkLst>
        </pc:spChg>
        <pc:spChg chg="mod">
          <ac:chgData name="Łukasz Bartnicki" userId="f5fa5770-7d4b-4839-bd65-47daadd6c741" providerId="ADAL" clId="{DD1D0391-8C74-4C48-AA28-098DF531FE2F}" dt="2024-01-09T14:01:26.385" v="1495" actId="1076"/>
          <ac:spMkLst>
            <pc:docMk/>
            <pc:sldMk cId="0" sldId="615"/>
            <ac:spMk id="9" creationId="{128CD28C-8C24-459C-851B-829A5C2CB86E}"/>
          </ac:spMkLst>
        </pc:spChg>
        <pc:picChg chg="mod">
          <ac:chgData name="Łukasz Bartnicki" userId="f5fa5770-7d4b-4839-bd65-47daadd6c741" providerId="ADAL" clId="{DD1D0391-8C74-4C48-AA28-098DF531FE2F}" dt="2024-01-09T14:01:36.297" v="1498" actId="14100"/>
          <ac:picMkLst>
            <pc:docMk/>
            <pc:sldMk cId="0" sldId="615"/>
            <ac:picMk id="11" creationId="{9A9B97FD-BD6F-4610-987B-BD73D3A18BDB}"/>
          </ac:picMkLst>
        </pc:picChg>
      </pc:sldChg>
      <pc:sldChg chg="addSp delSp modSp mod">
        <pc:chgData name="Łukasz Bartnicki" userId="f5fa5770-7d4b-4839-bd65-47daadd6c741" providerId="ADAL" clId="{DD1D0391-8C74-4C48-AA28-098DF531FE2F}" dt="2024-01-09T14:01:03.190" v="1484"/>
        <pc:sldMkLst>
          <pc:docMk/>
          <pc:sldMk cId="0" sldId="616"/>
        </pc:sldMkLst>
        <pc:spChg chg="del mod">
          <ac:chgData name="Łukasz Bartnicki" userId="f5fa5770-7d4b-4839-bd65-47daadd6c741" providerId="ADAL" clId="{DD1D0391-8C74-4C48-AA28-098DF531FE2F}" dt="2024-01-09T14:00:58.610" v="1481" actId="478"/>
          <ac:spMkLst>
            <pc:docMk/>
            <pc:sldMk cId="0" sldId="616"/>
            <ac:spMk id="2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4:01:02.034" v="1483" actId="478"/>
          <ac:spMkLst>
            <pc:docMk/>
            <pc:sldMk cId="0" sldId="616"/>
            <ac:spMk id="8" creationId="{139585F1-2791-7837-B7A8-A9EB2E322F06}"/>
          </ac:spMkLst>
        </pc:spChg>
        <pc:spChg chg="add mod">
          <ac:chgData name="Łukasz Bartnicki" userId="f5fa5770-7d4b-4839-bd65-47daadd6c741" providerId="ADAL" clId="{DD1D0391-8C74-4C48-AA28-098DF531FE2F}" dt="2024-01-09T14:01:03.190" v="1484"/>
          <ac:spMkLst>
            <pc:docMk/>
            <pc:sldMk cId="0" sldId="616"/>
            <ac:spMk id="9" creationId="{CC79E7FC-0AC3-9C55-E3F7-4A081584BC7A}"/>
          </ac:spMkLst>
        </pc:spChg>
      </pc:sldChg>
      <pc:sldChg chg="modSp mod">
        <pc:chgData name="Łukasz Bartnicki" userId="f5fa5770-7d4b-4839-bd65-47daadd6c741" providerId="ADAL" clId="{DD1D0391-8C74-4C48-AA28-098DF531FE2F}" dt="2024-01-09T13:48:09.122" v="333" actId="2711"/>
        <pc:sldMkLst>
          <pc:docMk/>
          <pc:sldMk cId="0" sldId="617"/>
        </pc:sldMkLst>
        <pc:spChg chg="mod">
          <ac:chgData name="Łukasz Bartnicki" userId="f5fa5770-7d4b-4839-bd65-47daadd6c741" providerId="ADAL" clId="{DD1D0391-8C74-4C48-AA28-098DF531FE2F}" dt="2024-01-09T13:48:09.122" v="333" actId="2711"/>
          <ac:spMkLst>
            <pc:docMk/>
            <pc:sldMk cId="0" sldId="617"/>
            <ac:spMk id="2" creationId="{00000000-0000-0000-0000-000000000000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3:49:35.724" v="481" actId="20577"/>
        <pc:sldMkLst>
          <pc:docMk/>
          <pc:sldMk cId="0" sldId="618"/>
        </pc:sldMkLst>
        <pc:spChg chg="del mod">
          <ac:chgData name="Łukasz Bartnicki" userId="f5fa5770-7d4b-4839-bd65-47daadd6c741" providerId="ADAL" clId="{DD1D0391-8C74-4C48-AA28-098DF531FE2F}" dt="2024-01-09T13:48:19.678" v="334" actId="478"/>
          <ac:spMkLst>
            <pc:docMk/>
            <pc:sldMk cId="0" sldId="618"/>
            <ac:spMk id="2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3:48:22.493" v="337" actId="478"/>
          <ac:spMkLst>
            <pc:docMk/>
            <pc:sldMk cId="0" sldId="618"/>
            <ac:spMk id="5" creationId="{E49EDC10-5743-90E1-6D86-7DECA91A623E}"/>
          </ac:spMkLst>
        </pc:spChg>
        <pc:spChg chg="mod">
          <ac:chgData name="Łukasz Bartnicki" userId="f5fa5770-7d4b-4839-bd65-47daadd6c741" providerId="ADAL" clId="{DD1D0391-8C74-4C48-AA28-098DF531FE2F}" dt="2024-01-09T13:49:35.724" v="481" actId="20577"/>
          <ac:spMkLst>
            <pc:docMk/>
            <pc:sldMk cId="0" sldId="618"/>
            <ac:spMk id="7" creationId="{BE929580-E78E-4251-9B10-EF5831204173}"/>
          </ac:spMkLst>
        </pc:spChg>
        <pc:spChg chg="add mod">
          <ac:chgData name="Łukasz Bartnicki" userId="f5fa5770-7d4b-4839-bd65-47daadd6c741" providerId="ADAL" clId="{DD1D0391-8C74-4C48-AA28-098DF531FE2F}" dt="2024-01-09T13:48:46.677" v="407" actId="1076"/>
          <ac:spMkLst>
            <pc:docMk/>
            <pc:sldMk cId="0" sldId="618"/>
            <ac:spMk id="8" creationId="{95DBB62F-B6C4-0E59-B10E-1ED8A46B2325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3:49:21.547" v="469" actId="20577"/>
        <pc:sldMkLst>
          <pc:docMk/>
          <pc:sldMk cId="0" sldId="619"/>
        </pc:sldMkLst>
        <pc:spChg chg="del mod">
          <ac:chgData name="Łukasz Bartnicki" userId="f5fa5770-7d4b-4839-bd65-47daadd6c741" providerId="ADAL" clId="{DD1D0391-8C74-4C48-AA28-098DF531FE2F}" dt="2024-01-09T13:48:52.270" v="408" actId="478"/>
          <ac:spMkLst>
            <pc:docMk/>
            <pc:sldMk cId="0" sldId="619"/>
            <ac:spMk id="2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3:48:55.740" v="410" actId="478"/>
          <ac:spMkLst>
            <pc:docMk/>
            <pc:sldMk cId="0" sldId="619"/>
            <ac:spMk id="4" creationId="{F96C77CB-CEC6-68A6-9617-416E7C9F6103}"/>
          </ac:spMkLst>
        </pc:spChg>
        <pc:spChg chg="add mod">
          <ac:chgData name="Łukasz Bartnicki" userId="f5fa5770-7d4b-4839-bd65-47daadd6c741" providerId="ADAL" clId="{DD1D0391-8C74-4C48-AA28-098DF531FE2F}" dt="2024-01-09T13:49:12.145" v="456" actId="404"/>
          <ac:spMkLst>
            <pc:docMk/>
            <pc:sldMk cId="0" sldId="619"/>
            <ac:spMk id="8" creationId="{77D16DBF-D321-19E9-1517-6B59D1DEE10D}"/>
          </ac:spMkLst>
        </pc:spChg>
        <pc:spChg chg="mod">
          <ac:chgData name="Łukasz Bartnicki" userId="f5fa5770-7d4b-4839-bd65-47daadd6c741" providerId="ADAL" clId="{DD1D0391-8C74-4C48-AA28-098DF531FE2F}" dt="2024-01-09T13:49:21.547" v="469" actId="20577"/>
          <ac:spMkLst>
            <pc:docMk/>
            <pc:sldMk cId="0" sldId="619"/>
            <ac:spMk id="10" creationId="{BE929580-E78E-4251-9B10-EF5831204173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3:50:00.075" v="497" actId="20577"/>
        <pc:sldMkLst>
          <pc:docMk/>
          <pc:sldMk cId="0" sldId="620"/>
        </pc:sldMkLst>
        <pc:spChg chg="del mod">
          <ac:chgData name="Łukasz Bartnicki" userId="f5fa5770-7d4b-4839-bd65-47daadd6c741" providerId="ADAL" clId="{DD1D0391-8C74-4C48-AA28-098DF531FE2F}" dt="2024-01-09T13:49:50.094" v="483" actId="478"/>
          <ac:spMkLst>
            <pc:docMk/>
            <pc:sldMk cId="0" sldId="620"/>
            <ac:spMk id="2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3:49:51.435" v="485" actId="478"/>
          <ac:spMkLst>
            <pc:docMk/>
            <pc:sldMk cId="0" sldId="620"/>
            <ac:spMk id="29" creationId="{D890EEFB-6219-2928-86F1-7151082CA613}"/>
          </ac:spMkLst>
        </pc:spChg>
        <pc:spChg chg="add mod">
          <ac:chgData name="Łukasz Bartnicki" userId="f5fa5770-7d4b-4839-bd65-47daadd6c741" providerId="ADAL" clId="{DD1D0391-8C74-4C48-AA28-098DF531FE2F}" dt="2024-01-09T13:50:00.075" v="497" actId="20577"/>
          <ac:spMkLst>
            <pc:docMk/>
            <pc:sldMk cId="0" sldId="620"/>
            <ac:spMk id="30" creationId="{24D406D4-9621-972B-1D0A-56CC274FC358}"/>
          </ac:spMkLst>
        </pc:spChg>
      </pc:sldChg>
      <pc:sldChg chg="addSp delSp modSp del mod">
        <pc:chgData name="Łukasz Bartnicki" userId="f5fa5770-7d4b-4839-bd65-47daadd6c741" providerId="ADAL" clId="{DD1D0391-8C74-4C48-AA28-098DF531FE2F}" dt="2024-01-09T12:04:30.679" v="113" actId="47"/>
        <pc:sldMkLst>
          <pc:docMk/>
          <pc:sldMk cId="0" sldId="621"/>
        </pc:sldMkLst>
        <pc:spChg chg="del mod">
          <ac:chgData name="Łukasz Bartnicki" userId="f5fa5770-7d4b-4839-bd65-47daadd6c741" providerId="ADAL" clId="{DD1D0391-8C74-4C48-AA28-098DF531FE2F}" dt="2024-01-09T12:04:27.335" v="109" actId="21"/>
          <ac:spMkLst>
            <pc:docMk/>
            <pc:sldMk cId="0" sldId="621"/>
            <ac:spMk id="2" creationId="{00000000-0000-0000-0000-000000000000}"/>
          </ac:spMkLst>
        </pc:spChg>
        <pc:spChg chg="add mod">
          <ac:chgData name="Łukasz Bartnicki" userId="f5fa5770-7d4b-4839-bd65-47daadd6c741" providerId="ADAL" clId="{DD1D0391-8C74-4C48-AA28-098DF531FE2F}" dt="2024-01-09T12:04:27.395" v="110" actId="27636"/>
          <ac:spMkLst>
            <pc:docMk/>
            <pc:sldMk cId="0" sldId="621"/>
            <ac:spMk id="3" creationId="{599EE83E-3989-F8E5-CE35-71F34AF06EBF}"/>
          </ac:spMkLst>
        </pc:spChg>
        <pc:spChg chg="del">
          <ac:chgData name="Łukasz Bartnicki" userId="f5fa5770-7d4b-4839-bd65-47daadd6c741" providerId="ADAL" clId="{DD1D0391-8C74-4C48-AA28-098DF531FE2F}" dt="2024-01-09T12:04:27.335" v="109" actId="21"/>
          <ac:spMkLst>
            <pc:docMk/>
            <pc:sldMk cId="0" sldId="621"/>
            <ac:spMk id="9" creationId="{BE929580-E78E-4251-9B10-EF5831204173}"/>
          </ac:spMkLst>
        </pc:spChg>
        <pc:picChg chg="del">
          <ac:chgData name="Łukasz Bartnicki" userId="f5fa5770-7d4b-4839-bd65-47daadd6c741" providerId="ADAL" clId="{DD1D0391-8C74-4C48-AA28-098DF531FE2F}" dt="2024-01-09T12:04:27.335" v="109" actId="21"/>
          <ac:picMkLst>
            <pc:docMk/>
            <pc:sldMk cId="0" sldId="621"/>
            <ac:picMk id="4" creationId="{D5E7F809-5E34-4035-9671-B8FA751C47F3}"/>
          </ac:picMkLst>
        </pc:picChg>
        <pc:picChg chg="del">
          <ac:chgData name="Łukasz Bartnicki" userId="f5fa5770-7d4b-4839-bd65-47daadd6c741" providerId="ADAL" clId="{DD1D0391-8C74-4C48-AA28-098DF531FE2F}" dt="2024-01-09T12:04:27.335" v="109" actId="21"/>
          <ac:picMkLst>
            <pc:docMk/>
            <pc:sldMk cId="0" sldId="621"/>
            <ac:picMk id="5" creationId="{FC1008CC-333E-4D98-BE69-3E2E188D5ECB}"/>
          </ac:picMkLst>
        </pc:picChg>
      </pc:sldChg>
      <pc:sldChg chg="addSp delSp modSp mod">
        <pc:chgData name="Łukasz Bartnicki" userId="f5fa5770-7d4b-4839-bd65-47daadd6c741" providerId="ADAL" clId="{DD1D0391-8C74-4C48-AA28-098DF531FE2F}" dt="2024-01-09T13:51:51.531" v="778" actId="1036"/>
        <pc:sldMkLst>
          <pc:docMk/>
          <pc:sldMk cId="0" sldId="622"/>
        </pc:sldMkLst>
        <pc:spChg chg="add del mod">
          <ac:chgData name="Łukasz Bartnicki" userId="f5fa5770-7d4b-4839-bd65-47daadd6c741" providerId="ADAL" clId="{DD1D0391-8C74-4C48-AA28-098DF531FE2F}" dt="2024-01-09T13:51:10.224" v="625" actId="478"/>
          <ac:spMkLst>
            <pc:docMk/>
            <pc:sldMk cId="0" sldId="622"/>
            <ac:spMk id="2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3:51:10.398" v="626" actId="478"/>
          <ac:spMkLst>
            <pc:docMk/>
            <pc:sldMk cId="0" sldId="622"/>
            <ac:spMk id="4" creationId="{720956EC-D71A-EBFC-67F8-69BB7EA89F44}"/>
          </ac:spMkLst>
        </pc:spChg>
        <pc:spChg chg="add del mod">
          <ac:chgData name="Łukasz Bartnicki" userId="f5fa5770-7d4b-4839-bd65-47daadd6c741" providerId="ADAL" clId="{DD1D0391-8C74-4C48-AA28-098DF531FE2F}" dt="2024-01-09T13:51:51.531" v="778" actId="1036"/>
          <ac:spMkLst>
            <pc:docMk/>
            <pc:sldMk cId="0" sldId="622"/>
            <ac:spMk id="5" creationId="{6C9E5C61-D6BB-B866-4E20-6F1A5F4BEE96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3:52:07.742" v="814" actId="404"/>
        <pc:sldMkLst>
          <pc:docMk/>
          <pc:sldMk cId="0" sldId="623"/>
        </pc:sldMkLst>
        <pc:spChg chg="del mod">
          <ac:chgData name="Łukasz Bartnicki" userId="f5fa5770-7d4b-4839-bd65-47daadd6c741" providerId="ADAL" clId="{DD1D0391-8C74-4C48-AA28-098DF531FE2F}" dt="2024-01-09T13:51:54.302" v="779" actId="478"/>
          <ac:spMkLst>
            <pc:docMk/>
            <pc:sldMk cId="0" sldId="623"/>
            <ac:spMk id="2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3:51:55.259" v="781" actId="478"/>
          <ac:spMkLst>
            <pc:docMk/>
            <pc:sldMk cId="0" sldId="623"/>
            <ac:spMk id="5" creationId="{D1336412-2484-AEB5-599F-49121406AA13}"/>
          </ac:spMkLst>
        </pc:spChg>
        <pc:spChg chg="add mod">
          <ac:chgData name="Łukasz Bartnicki" userId="f5fa5770-7d4b-4839-bd65-47daadd6c741" providerId="ADAL" clId="{DD1D0391-8C74-4C48-AA28-098DF531FE2F}" dt="2024-01-09T13:52:07.742" v="814" actId="404"/>
          <ac:spMkLst>
            <pc:docMk/>
            <pc:sldMk cId="0" sldId="623"/>
            <ac:spMk id="6" creationId="{BC539273-D0AE-A85B-C3B9-61C0BC9AE4F6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3:54:11.147" v="913" actId="1076"/>
        <pc:sldMkLst>
          <pc:docMk/>
          <pc:sldMk cId="0" sldId="625"/>
        </pc:sldMkLst>
        <pc:spChg chg="del mod">
          <ac:chgData name="Łukasz Bartnicki" userId="f5fa5770-7d4b-4839-bd65-47daadd6c741" providerId="ADAL" clId="{DD1D0391-8C74-4C48-AA28-098DF531FE2F}" dt="2024-01-09T13:53:25.822" v="817" actId="478"/>
          <ac:spMkLst>
            <pc:docMk/>
            <pc:sldMk cId="0" sldId="625"/>
            <ac:spMk id="2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3:53:37.357" v="861" actId="478"/>
          <ac:spMkLst>
            <pc:docMk/>
            <pc:sldMk cId="0" sldId="625"/>
            <ac:spMk id="6" creationId="{FC9FDA81-CF24-374F-7CD7-BE9B1AC7EDFA}"/>
          </ac:spMkLst>
        </pc:spChg>
        <pc:spChg chg="add mod">
          <ac:chgData name="Łukasz Bartnicki" userId="f5fa5770-7d4b-4839-bd65-47daadd6c741" providerId="ADAL" clId="{DD1D0391-8C74-4C48-AA28-098DF531FE2F}" dt="2024-01-09T13:53:35.133" v="860" actId="20577"/>
          <ac:spMkLst>
            <pc:docMk/>
            <pc:sldMk cId="0" sldId="625"/>
            <ac:spMk id="7" creationId="{8E13AF33-E89D-BBF2-D5D2-79B86DE87858}"/>
          </ac:spMkLst>
        </pc:spChg>
        <pc:spChg chg="mod">
          <ac:chgData name="Łukasz Bartnicki" userId="f5fa5770-7d4b-4839-bd65-47daadd6c741" providerId="ADAL" clId="{DD1D0391-8C74-4C48-AA28-098DF531FE2F}" dt="2024-01-09T13:54:11.147" v="913" actId="1076"/>
          <ac:spMkLst>
            <pc:docMk/>
            <pc:sldMk cId="0" sldId="625"/>
            <ac:spMk id="10" creationId="{BE929580-E78E-4251-9B10-EF5831204173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3:54:53.858" v="969" actId="20577"/>
        <pc:sldMkLst>
          <pc:docMk/>
          <pc:sldMk cId="0" sldId="626"/>
        </pc:sldMkLst>
        <pc:spChg chg="del mod">
          <ac:chgData name="Łukasz Bartnicki" userId="f5fa5770-7d4b-4839-bd65-47daadd6c741" providerId="ADAL" clId="{DD1D0391-8C74-4C48-AA28-098DF531FE2F}" dt="2024-01-09T13:54:27.854" v="914" actId="478"/>
          <ac:spMkLst>
            <pc:docMk/>
            <pc:sldMk cId="0" sldId="626"/>
            <ac:spMk id="2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3:54:30.268" v="916" actId="478"/>
          <ac:spMkLst>
            <pc:docMk/>
            <pc:sldMk cId="0" sldId="626"/>
            <ac:spMk id="8" creationId="{962C3081-23EF-61A0-E93E-39DEC10CAA20}"/>
          </ac:spMkLst>
        </pc:spChg>
        <pc:spChg chg="add mod">
          <ac:chgData name="Łukasz Bartnicki" userId="f5fa5770-7d4b-4839-bd65-47daadd6c741" providerId="ADAL" clId="{DD1D0391-8C74-4C48-AA28-098DF531FE2F}" dt="2024-01-09T13:54:53.858" v="969" actId="20577"/>
          <ac:spMkLst>
            <pc:docMk/>
            <pc:sldMk cId="0" sldId="626"/>
            <ac:spMk id="10" creationId="{272F0DB1-CAEE-DB76-9CF0-6A4682A53FCE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3:55:33.614" v="1048" actId="1076"/>
        <pc:sldMkLst>
          <pc:docMk/>
          <pc:sldMk cId="0" sldId="627"/>
        </pc:sldMkLst>
        <pc:spChg chg="del mod">
          <ac:chgData name="Łukasz Bartnicki" userId="f5fa5770-7d4b-4839-bd65-47daadd6c741" providerId="ADAL" clId="{DD1D0391-8C74-4C48-AA28-098DF531FE2F}" dt="2024-01-09T13:55:01.920" v="971" actId="478"/>
          <ac:spMkLst>
            <pc:docMk/>
            <pc:sldMk cId="0" sldId="627"/>
            <ac:spMk id="2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3:55:04.076" v="973" actId="478"/>
          <ac:spMkLst>
            <pc:docMk/>
            <pc:sldMk cId="0" sldId="627"/>
            <ac:spMk id="4" creationId="{76520058-0193-646C-31AC-538997BD3C85}"/>
          </ac:spMkLst>
        </pc:spChg>
        <pc:spChg chg="add mod">
          <ac:chgData name="Łukasz Bartnicki" userId="f5fa5770-7d4b-4839-bd65-47daadd6c741" providerId="ADAL" clId="{DD1D0391-8C74-4C48-AA28-098DF531FE2F}" dt="2024-01-09T13:55:33.614" v="1048" actId="1076"/>
          <ac:spMkLst>
            <pc:docMk/>
            <pc:sldMk cId="0" sldId="627"/>
            <ac:spMk id="5" creationId="{79E3A698-8DEA-D091-8426-B4060932676D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3:56:35.357" v="1170" actId="20577"/>
        <pc:sldMkLst>
          <pc:docMk/>
          <pc:sldMk cId="0" sldId="628"/>
        </pc:sldMkLst>
        <pc:spChg chg="del mod">
          <ac:chgData name="Łukasz Bartnicki" userId="f5fa5770-7d4b-4839-bd65-47daadd6c741" providerId="ADAL" clId="{DD1D0391-8C74-4C48-AA28-098DF531FE2F}" dt="2024-01-09T13:55:38.814" v="1049" actId="478"/>
          <ac:spMkLst>
            <pc:docMk/>
            <pc:sldMk cId="0" sldId="628"/>
            <ac:spMk id="2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3:55:41.102" v="1052" actId="478"/>
          <ac:spMkLst>
            <pc:docMk/>
            <pc:sldMk cId="0" sldId="628"/>
            <ac:spMk id="4" creationId="{A19AD9D2-2582-B4FE-FFE2-DF493D497970}"/>
          </ac:spMkLst>
        </pc:spChg>
        <pc:spChg chg="add del mod">
          <ac:chgData name="Łukasz Bartnicki" userId="f5fa5770-7d4b-4839-bd65-47daadd6c741" providerId="ADAL" clId="{DD1D0391-8C74-4C48-AA28-098DF531FE2F}" dt="2024-01-09T13:56:19.404" v="1129" actId="478"/>
          <ac:spMkLst>
            <pc:docMk/>
            <pc:sldMk cId="0" sldId="628"/>
            <ac:spMk id="8" creationId="{64A93AA3-EB89-8EB6-AFEE-440C98056BE2}"/>
          </ac:spMkLst>
        </pc:spChg>
        <pc:spChg chg="add mod">
          <ac:chgData name="Łukasz Bartnicki" userId="f5fa5770-7d4b-4839-bd65-47daadd6c741" providerId="ADAL" clId="{DD1D0391-8C74-4C48-AA28-098DF531FE2F}" dt="2024-01-09T13:56:35.357" v="1170" actId="20577"/>
          <ac:spMkLst>
            <pc:docMk/>
            <pc:sldMk cId="0" sldId="628"/>
            <ac:spMk id="9" creationId="{3DDDE757-6779-6C3F-0A1E-1AA8F91EA7F0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3:56:42.990" v="1172"/>
        <pc:sldMkLst>
          <pc:docMk/>
          <pc:sldMk cId="0" sldId="629"/>
        </pc:sldMkLst>
        <pc:spChg chg="del mod">
          <ac:chgData name="Łukasz Bartnicki" userId="f5fa5770-7d4b-4839-bd65-47daadd6c741" providerId="ADAL" clId="{DD1D0391-8C74-4C48-AA28-098DF531FE2F}" dt="2024-01-09T13:55:49.645" v="1067" actId="478"/>
          <ac:spMkLst>
            <pc:docMk/>
            <pc:sldMk cId="0" sldId="629"/>
            <ac:spMk id="2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3:55:51.981" v="1069" actId="478"/>
          <ac:spMkLst>
            <pc:docMk/>
            <pc:sldMk cId="0" sldId="629"/>
            <ac:spMk id="10" creationId="{71CD6272-EB5B-EED4-4907-9315D983FE7B}"/>
          </ac:spMkLst>
        </pc:spChg>
        <pc:spChg chg="add mod">
          <ac:chgData name="Łukasz Bartnicki" userId="f5fa5770-7d4b-4839-bd65-47daadd6c741" providerId="ADAL" clId="{DD1D0391-8C74-4C48-AA28-098DF531FE2F}" dt="2024-01-09T13:56:12.383" v="1128" actId="1076"/>
          <ac:spMkLst>
            <pc:docMk/>
            <pc:sldMk cId="0" sldId="629"/>
            <ac:spMk id="11" creationId="{00474406-5E77-C3E7-5466-6E8F1303C898}"/>
          </ac:spMkLst>
        </pc:spChg>
        <pc:spChg chg="add del mod">
          <ac:chgData name="Łukasz Bartnicki" userId="f5fa5770-7d4b-4839-bd65-47daadd6c741" providerId="ADAL" clId="{DD1D0391-8C74-4C48-AA28-098DF531FE2F}" dt="2024-01-09T13:56:42.990" v="1172"/>
          <ac:spMkLst>
            <pc:docMk/>
            <pc:sldMk cId="0" sldId="629"/>
            <ac:spMk id="12" creationId="{6F5AC80A-882E-A652-E16E-DB1D68F0E3FC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3:56:54.430" v="1177" actId="1076"/>
        <pc:sldMkLst>
          <pc:docMk/>
          <pc:sldMk cId="0" sldId="630"/>
        </pc:sldMkLst>
        <pc:spChg chg="del mod">
          <ac:chgData name="Łukasz Bartnicki" userId="f5fa5770-7d4b-4839-bd65-47daadd6c741" providerId="ADAL" clId="{DD1D0391-8C74-4C48-AA28-098DF531FE2F}" dt="2024-01-09T13:56:49.166" v="1173" actId="478"/>
          <ac:spMkLst>
            <pc:docMk/>
            <pc:sldMk cId="0" sldId="630"/>
            <ac:spMk id="2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3:56:50.909" v="1175" actId="478"/>
          <ac:spMkLst>
            <pc:docMk/>
            <pc:sldMk cId="0" sldId="630"/>
            <ac:spMk id="10" creationId="{7286EB9D-6356-36CF-3F09-EECD2EE05DDF}"/>
          </ac:spMkLst>
        </pc:spChg>
        <pc:spChg chg="add mod">
          <ac:chgData name="Łukasz Bartnicki" userId="f5fa5770-7d4b-4839-bd65-47daadd6c741" providerId="ADAL" clId="{DD1D0391-8C74-4C48-AA28-098DF531FE2F}" dt="2024-01-09T13:56:51.314" v="1176"/>
          <ac:spMkLst>
            <pc:docMk/>
            <pc:sldMk cId="0" sldId="630"/>
            <ac:spMk id="11" creationId="{22577258-8941-D371-AF8D-E613C5DAC5B9}"/>
          </ac:spMkLst>
        </pc:spChg>
        <pc:picChg chg="mod">
          <ac:chgData name="Łukasz Bartnicki" userId="f5fa5770-7d4b-4839-bd65-47daadd6c741" providerId="ADAL" clId="{DD1D0391-8C74-4C48-AA28-098DF531FE2F}" dt="2024-01-09T13:56:54.430" v="1177" actId="1076"/>
          <ac:picMkLst>
            <pc:docMk/>
            <pc:sldMk cId="0" sldId="630"/>
            <ac:picMk id="14" creationId="{00000000-0000-0000-0000-000000000000}"/>
          </ac:picMkLst>
        </pc:picChg>
      </pc:sldChg>
      <pc:sldChg chg="addSp delSp modSp mod">
        <pc:chgData name="Łukasz Bartnicki" userId="f5fa5770-7d4b-4839-bd65-47daadd6c741" providerId="ADAL" clId="{DD1D0391-8C74-4C48-AA28-098DF531FE2F}" dt="2024-01-09T13:59:30.975" v="1423" actId="6549"/>
        <pc:sldMkLst>
          <pc:docMk/>
          <pc:sldMk cId="0" sldId="631"/>
        </pc:sldMkLst>
        <pc:spChg chg="del mod">
          <ac:chgData name="Łukasz Bartnicki" userId="f5fa5770-7d4b-4839-bd65-47daadd6c741" providerId="ADAL" clId="{DD1D0391-8C74-4C48-AA28-098DF531FE2F}" dt="2024-01-09T13:56:57.438" v="1178" actId="478"/>
          <ac:spMkLst>
            <pc:docMk/>
            <pc:sldMk cId="0" sldId="631"/>
            <ac:spMk id="2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3:56:59.598" v="1181" actId="478"/>
          <ac:spMkLst>
            <pc:docMk/>
            <pc:sldMk cId="0" sldId="631"/>
            <ac:spMk id="4" creationId="{D09A63B5-398B-D7BE-34DC-24CCADD55F0B}"/>
          </ac:spMkLst>
        </pc:spChg>
        <pc:spChg chg="add mod">
          <ac:chgData name="Łukasz Bartnicki" userId="f5fa5770-7d4b-4839-bd65-47daadd6c741" providerId="ADAL" clId="{DD1D0391-8C74-4C48-AA28-098DF531FE2F}" dt="2024-01-09T13:56:57.793" v="1180"/>
          <ac:spMkLst>
            <pc:docMk/>
            <pc:sldMk cId="0" sldId="631"/>
            <ac:spMk id="5" creationId="{5F5D79BA-C837-537F-5CBB-6D66AA46FF29}"/>
          </ac:spMkLst>
        </pc:spChg>
        <pc:spChg chg="mod">
          <ac:chgData name="Łukasz Bartnicki" userId="f5fa5770-7d4b-4839-bd65-47daadd6c741" providerId="ADAL" clId="{DD1D0391-8C74-4C48-AA28-098DF531FE2F}" dt="2024-01-09T13:59:30.975" v="1423" actId="6549"/>
          <ac:spMkLst>
            <pc:docMk/>
            <pc:sldMk cId="0" sldId="631"/>
            <ac:spMk id="6" creationId="{00000000-0000-0000-0000-000000000000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3:59:42.642" v="1427" actId="478"/>
        <pc:sldMkLst>
          <pc:docMk/>
          <pc:sldMk cId="0" sldId="632"/>
        </pc:sldMkLst>
        <pc:spChg chg="del mod">
          <ac:chgData name="Łukasz Bartnicki" userId="f5fa5770-7d4b-4839-bd65-47daadd6c741" providerId="ADAL" clId="{DD1D0391-8C74-4C48-AA28-098DF531FE2F}" dt="2024-01-09T13:59:40.209" v="1424" actId="478"/>
          <ac:spMkLst>
            <pc:docMk/>
            <pc:sldMk cId="0" sldId="632"/>
            <ac:spMk id="2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3:59:42.642" v="1427" actId="478"/>
          <ac:spMkLst>
            <pc:docMk/>
            <pc:sldMk cId="0" sldId="632"/>
            <ac:spMk id="5" creationId="{0F5F99FE-802C-7F3E-A84E-7EAC2081B088}"/>
          </ac:spMkLst>
        </pc:spChg>
        <pc:spChg chg="add mod">
          <ac:chgData name="Łukasz Bartnicki" userId="f5fa5770-7d4b-4839-bd65-47daadd6c741" providerId="ADAL" clId="{DD1D0391-8C74-4C48-AA28-098DF531FE2F}" dt="2024-01-09T13:59:40.532" v="1426"/>
          <ac:spMkLst>
            <pc:docMk/>
            <pc:sldMk cId="0" sldId="632"/>
            <ac:spMk id="7" creationId="{720820A6-D047-2D00-632E-E991510E8425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4:00:04.339" v="1460" actId="207"/>
        <pc:sldMkLst>
          <pc:docMk/>
          <pc:sldMk cId="0" sldId="633"/>
        </pc:sldMkLst>
        <pc:spChg chg="del mod">
          <ac:chgData name="Łukasz Bartnicki" userId="f5fa5770-7d4b-4839-bd65-47daadd6c741" providerId="ADAL" clId="{DD1D0391-8C74-4C48-AA28-098DF531FE2F}" dt="2024-01-09T13:59:45.900" v="1428" actId="478"/>
          <ac:spMkLst>
            <pc:docMk/>
            <pc:sldMk cId="0" sldId="633"/>
            <ac:spMk id="2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3:59:48.354" v="1431" actId="478"/>
          <ac:spMkLst>
            <pc:docMk/>
            <pc:sldMk cId="0" sldId="633"/>
            <ac:spMk id="7" creationId="{6EB58996-44A7-8C7A-AEA8-1D7EA878A184}"/>
          </ac:spMkLst>
        </pc:spChg>
        <pc:spChg chg="add mod">
          <ac:chgData name="Łukasz Bartnicki" userId="f5fa5770-7d4b-4839-bd65-47daadd6c741" providerId="ADAL" clId="{DD1D0391-8C74-4C48-AA28-098DF531FE2F}" dt="2024-01-09T14:00:04.339" v="1460" actId="207"/>
          <ac:spMkLst>
            <pc:docMk/>
            <pc:sldMk cId="0" sldId="633"/>
            <ac:spMk id="8" creationId="{F97689B6-2245-00A2-4299-EA10460E7512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4:00:15.235" v="1464" actId="478"/>
        <pc:sldMkLst>
          <pc:docMk/>
          <pc:sldMk cId="0" sldId="634"/>
        </pc:sldMkLst>
        <pc:spChg chg="del mod">
          <ac:chgData name="Łukasz Bartnicki" userId="f5fa5770-7d4b-4839-bd65-47daadd6c741" providerId="ADAL" clId="{DD1D0391-8C74-4C48-AA28-098DF531FE2F}" dt="2024-01-09T14:00:12.355" v="1461" actId="478"/>
          <ac:spMkLst>
            <pc:docMk/>
            <pc:sldMk cId="0" sldId="634"/>
            <ac:spMk id="2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4:00:15.235" v="1464" actId="478"/>
          <ac:spMkLst>
            <pc:docMk/>
            <pc:sldMk cId="0" sldId="634"/>
            <ac:spMk id="4" creationId="{93972764-F1A7-F891-C4C0-0D0589BE5181}"/>
          </ac:spMkLst>
        </pc:spChg>
        <pc:spChg chg="add mod">
          <ac:chgData name="Łukasz Bartnicki" userId="f5fa5770-7d4b-4839-bd65-47daadd6c741" providerId="ADAL" clId="{DD1D0391-8C74-4C48-AA28-098DF531FE2F}" dt="2024-01-09T14:00:12.757" v="1463"/>
          <ac:spMkLst>
            <pc:docMk/>
            <pc:sldMk cId="0" sldId="634"/>
            <ac:spMk id="6" creationId="{2E9B3A81-02E6-F08B-EF61-1B994AA25A8D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4:00:20.441" v="1468"/>
        <pc:sldMkLst>
          <pc:docMk/>
          <pc:sldMk cId="0" sldId="635"/>
        </pc:sldMkLst>
        <pc:spChg chg="del mod">
          <ac:chgData name="Łukasz Bartnicki" userId="f5fa5770-7d4b-4839-bd65-47daadd6c741" providerId="ADAL" clId="{DD1D0391-8C74-4C48-AA28-098DF531FE2F}" dt="2024-01-09T14:00:18.507" v="1465" actId="478"/>
          <ac:spMkLst>
            <pc:docMk/>
            <pc:sldMk cId="0" sldId="635"/>
            <ac:spMk id="2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4:00:20.142" v="1467" actId="478"/>
          <ac:spMkLst>
            <pc:docMk/>
            <pc:sldMk cId="0" sldId="635"/>
            <ac:spMk id="5" creationId="{BD11B451-E7FB-EF9E-0F07-48AEC4EA9859}"/>
          </ac:spMkLst>
        </pc:spChg>
        <pc:spChg chg="add mod">
          <ac:chgData name="Łukasz Bartnicki" userId="f5fa5770-7d4b-4839-bd65-47daadd6c741" providerId="ADAL" clId="{DD1D0391-8C74-4C48-AA28-098DF531FE2F}" dt="2024-01-09T14:00:20.441" v="1468"/>
          <ac:spMkLst>
            <pc:docMk/>
            <pc:sldMk cId="0" sldId="635"/>
            <ac:spMk id="7" creationId="{A268537D-91D7-3252-7EB5-D6163062DDC2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4:00:36.537" v="1473" actId="1076"/>
        <pc:sldMkLst>
          <pc:docMk/>
          <pc:sldMk cId="0" sldId="636"/>
        </pc:sldMkLst>
        <pc:spChg chg="del mod">
          <ac:chgData name="Łukasz Bartnicki" userId="f5fa5770-7d4b-4839-bd65-47daadd6c741" providerId="ADAL" clId="{DD1D0391-8C74-4C48-AA28-098DF531FE2F}" dt="2024-01-09T14:00:30.342" v="1469" actId="478"/>
          <ac:spMkLst>
            <pc:docMk/>
            <pc:sldMk cId="0" sldId="636"/>
            <ac:spMk id="2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4:00:31.820" v="1471" actId="478"/>
          <ac:spMkLst>
            <pc:docMk/>
            <pc:sldMk cId="0" sldId="636"/>
            <ac:spMk id="5" creationId="{4358CEB3-3661-6233-1392-3045865127DD}"/>
          </ac:spMkLst>
        </pc:spChg>
        <pc:spChg chg="add mod">
          <ac:chgData name="Łukasz Bartnicki" userId="f5fa5770-7d4b-4839-bd65-47daadd6c741" providerId="ADAL" clId="{DD1D0391-8C74-4C48-AA28-098DF531FE2F}" dt="2024-01-09T14:00:36.537" v="1473" actId="1076"/>
          <ac:spMkLst>
            <pc:docMk/>
            <pc:sldMk cId="0" sldId="636"/>
            <ac:spMk id="9" creationId="{D88AA690-3852-791F-FB10-023858C41E8C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4:00:54.807" v="1480"/>
        <pc:sldMkLst>
          <pc:docMk/>
          <pc:sldMk cId="0" sldId="637"/>
        </pc:sldMkLst>
        <pc:spChg chg="del mod">
          <ac:chgData name="Łukasz Bartnicki" userId="f5fa5770-7d4b-4839-bd65-47daadd6c741" providerId="ADAL" clId="{DD1D0391-8C74-4C48-AA28-098DF531FE2F}" dt="2024-01-09T14:00:40.467" v="1474" actId="478"/>
          <ac:spMkLst>
            <pc:docMk/>
            <pc:sldMk cId="0" sldId="637"/>
            <ac:spMk id="2" creationId="{00000000-0000-0000-0000-000000000000}"/>
          </ac:spMkLst>
        </pc:spChg>
        <pc:spChg chg="add del mod">
          <ac:chgData name="Łukasz Bartnicki" userId="f5fa5770-7d4b-4839-bd65-47daadd6c741" providerId="ADAL" clId="{DD1D0391-8C74-4C48-AA28-098DF531FE2F}" dt="2024-01-09T14:00:41.599" v="1476" actId="478"/>
          <ac:spMkLst>
            <pc:docMk/>
            <pc:sldMk cId="0" sldId="637"/>
            <ac:spMk id="5" creationId="{542ECE07-5E0B-7340-0A18-0B3DFCA9E619}"/>
          </ac:spMkLst>
        </pc:spChg>
        <pc:spChg chg="add del mod">
          <ac:chgData name="Łukasz Bartnicki" userId="f5fa5770-7d4b-4839-bd65-47daadd6c741" providerId="ADAL" clId="{DD1D0391-8C74-4C48-AA28-098DF531FE2F}" dt="2024-01-09T14:00:49.995" v="1479" actId="478"/>
          <ac:spMkLst>
            <pc:docMk/>
            <pc:sldMk cId="0" sldId="637"/>
            <ac:spMk id="9" creationId="{1DC27464-7C94-ABF4-09DF-CDDD8EEAF4F1}"/>
          </ac:spMkLst>
        </pc:spChg>
        <pc:spChg chg="add mod">
          <ac:chgData name="Łukasz Bartnicki" userId="f5fa5770-7d4b-4839-bd65-47daadd6c741" providerId="ADAL" clId="{DD1D0391-8C74-4C48-AA28-098DF531FE2F}" dt="2024-01-09T14:00:54.807" v="1480"/>
          <ac:spMkLst>
            <pc:docMk/>
            <pc:sldMk cId="0" sldId="637"/>
            <ac:spMk id="10" creationId="{0BA1A831-4A18-6473-ABFE-D7A716391615}"/>
          </ac:spMkLst>
        </pc:spChg>
      </pc:sldChg>
      <pc:sldChg chg="addSp delSp modSp mod">
        <pc:chgData name="Łukasz Bartnicki" userId="f5fa5770-7d4b-4839-bd65-47daadd6c741" providerId="ADAL" clId="{DD1D0391-8C74-4C48-AA28-098DF531FE2F}" dt="2024-01-09T14:35:25.337" v="2358" actId="2711"/>
        <pc:sldMkLst>
          <pc:docMk/>
          <pc:sldMk cId="4278929063" sldId="638"/>
        </pc:sldMkLst>
        <pc:spChg chg="del">
          <ac:chgData name="Łukasz Bartnicki" userId="f5fa5770-7d4b-4839-bd65-47daadd6c741" providerId="ADAL" clId="{DD1D0391-8C74-4C48-AA28-098DF531FE2F}" dt="2024-01-09T14:34:10.965" v="2330" actId="478"/>
          <ac:spMkLst>
            <pc:docMk/>
            <pc:sldMk cId="4278929063" sldId="638"/>
            <ac:spMk id="2" creationId="{EA10641B-75B7-4346-88BE-3556F7AF86F3}"/>
          </ac:spMkLst>
        </pc:spChg>
        <pc:spChg chg="mod">
          <ac:chgData name="Łukasz Bartnicki" userId="f5fa5770-7d4b-4839-bd65-47daadd6c741" providerId="ADAL" clId="{DD1D0391-8C74-4C48-AA28-098DF531FE2F}" dt="2024-01-09T14:35:25.337" v="2358" actId="2711"/>
          <ac:spMkLst>
            <pc:docMk/>
            <pc:sldMk cId="4278929063" sldId="638"/>
            <ac:spMk id="3" creationId="{15361252-072B-4689-AEBE-0653DB3FF140}"/>
          </ac:spMkLst>
        </pc:spChg>
        <pc:spChg chg="add del mod">
          <ac:chgData name="Łukasz Bartnicki" userId="f5fa5770-7d4b-4839-bd65-47daadd6c741" providerId="ADAL" clId="{DD1D0391-8C74-4C48-AA28-098DF531FE2F}" dt="2024-01-09T14:34:13.962" v="2332" actId="478"/>
          <ac:spMkLst>
            <pc:docMk/>
            <pc:sldMk cId="4278929063" sldId="638"/>
            <ac:spMk id="35" creationId="{A2FD43A5-AC8D-24E5-1958-EEAA4303BFCD}"/>
          </ac:spMkLst>
        </pc:spChg>
        <pc:spChg chg="add mod">
          <ac:chgData name="Łukasz Bartnicki" userId="f5fa5770-7d4b-4839-bd65-47daadd6c741" providerId="ADAL" clId="{DD1D0391-8C74-4C48-AA28-098DF531FE2F}" dt="2024-01-09T14:34:50.708" v="2355" actId="20577"/>
          <ac:spMkLst>
            <pc:docMk/>
            <pc:sldMk cId="4278929063" sldId="638"/>
            <ac:spMk id="36" creationId="{B927328F-B6AD-2B52-4374-43F688E15BE9}"/>
          </ac:spMkLst>
        </pc:spChg>
        <pc:grpChg chg="del">
          <ac:chgData name="Łukasz Bartnicki" userId="f5fa5770-7d4b-4839-bd65-47daadd6c741" providerId="ADAL" clId="{DD1D0391-8C74-4C48-AA28-098DF531FE2F}" dt="2024-01-09T14:27:09.563" v="2329" actId="478"/>
          <ac:grpSpMkLst>
            <pc:docMk/>
            <pc:sldMk cId="4278929063" sldId="638"/>
            <ac:grpSpMk id="4" creationId="{4FA1989F-CC01-4DAF-8362-61F5FD022AF8}"/>
          </ac:grpSpMkLst>
        </pc:grpChg>
        <pc:picChg chg="mod modCrop">
          <ac:chgData name="Łukasz Bartnicki" userId="f5fa5770-7d4b-4839-bd65-47daadd6c741" providerId="ADAL" clId="{DD1D0391-8C74-4C48-AA28-098DF531FE2F}" dt="2024-01-09T14:34:57.935" v="2357" actId="1076"/>
          <ac:picMkLst>
            <pc:docMk/>
            <pc:sldMk cId="4278929063" sldId="638"/>
            <ac:picMk id="33" creationId="{F675656A-B12B-4F46-BA85-F505DBF1862C}"/>
          </ac:picMkLst>
        </pc:picChg>
      </pc:sldChg>
      <pc:sldChg chg="modSp add del mod">
        <pc:chgData name="Łukasz Bartnicki" userId="f5fa5770-7d4b-4839-bd65-47daadd6c741" providerId="ADAL" clId="{DD1D0391-8C74-4C48-AA28-098DF531FE2F}" dt="2024-01-09T13:45:44.219" v="226" actId="113"/>
        <pc:sldMkLst>
          <pc:docMk/>
          <pc:sldMk cId="976327305" sldId="639"/>
        </pc:sldMkLst>
        <pc:spChg chg="mod">
          <ac:chgData name="Łukasz Bartnicki" userId="f5fa5770-7d4b-4839-bd65-47daadd6c741" providerId="ADAL" clId="{DD1D0391-8C74-4C48-AA28-098DF531FE2F}" dt="2024-01-09T12:11:02.346" v="215" actId="113"/>
          <ac:spMkLst>
            <pc:docMk/>
            <pc:sldMk cId="976327305" sldId="639"/>
            <ac:spMk id="6" creationId="{47C2800E-ED4A-4921-AADE-1D7BB86AC361}"/>
          </ac:spMkLst>
        </pc:spChg>
        <pc:spChg chg="mod">
          <ac:chgData name="Łukasz Bartnicki" userId="f5fa5770-7d4b-4839-bd65-47daadd6c741" providerId="ADAL" clId="{DD1D0391-8C74-4C48-AA28-098DF531FE2F}" dt="2024-01-09T13:45:44.219" v="226" actId="113"/>
          <ac:spMkLst>
            <pc:docMk/>
            <pc:sldMk cId="976327305" sldId="639"/>
            <ac:spMk id="40" creationId="{00000000-0000-0000-0000-000000000000}"/>
          </ac:spMkLst>
        </pc:spChg>
        <pc:picChg chg="mod">
          <ac:chgData name="Łukasz Bartnicki" userId="f5fa5770-7d4b-4839-bd65-47daadd6c741" providerId="ADAL" clId="{DD1D0391-8C74-4C48-AA28-098DF531FE2F}" dt="2024-01-09T12:00:53.191" v="34" actId="14100"/>
          <ac:picMkLst>
            <pc:docMk/>
            <pc:sldMk cId="976327305" sldId="639"/>
            <ac:picMk id="9" creationId="{DDB7C7B2-823C-46BC-8B20-47D4021897A9}"/>
          </ac:picMkLst>
        </pc:picChg>
      </pc:sldChg>
      <pc:sldChg chg="delSp modSp mod modNotesTx">
        <pc:chgData name="Łukasz Bartnicki" userId="f5fa5770-7d4b-4839-bd65-47daadd6c741" providerId="ADAL" clId="{DD1D0391-8C74-4C48-AA28-098DF531FE2F}" dt="2024-01-09T14:44:50.277" v="2706" actId="20577"/>
        <pc:sldMkLst>
          <pc:docMk/>
          <pc:sldMk cId="3953656298" sldId="2881"/>
        </pc:sldMkLst>
        <pc:spChg chg="mod">
          <ac:chgData name="Łukasz Bartnicki" userId="f5fa5770-7d4b-4839-bd65-47daadd6c741" providerId="ADAL" clId="{DD1D0391-8C74-4C48-AA28-098DF531FE2F}" dt="2024-01-09T11:58:30.175" v="27" actId="20577"/>
          <ac:spMkLst>
            <pc:docMk/>
            <pc:sldMk cId="3953656298" sldId="2881"/>
            <ac:spMk id="5" creationId="{4D9F8FBE-9C89-4233-8F57-E8A5AF553057}"/>
          </ac:spMkLst>
        </pc:spChg>
        <pc:spChg chg="del">
          <ac:chgData name="Łukasz Bartnicki" userId="f5fa5770-7d4b-4839-bd65-47daadd6c741" providerId="ADAL" clId="{DD1D0391-8C74-4C48-AA28-098DF531FE2F}" dt="2024-01-09T14:44:24.578" v="2633" actId="478"/>
          <ac:spMkLst>
            <pc:docMk/>
            <pc:sldMk cId="3953656298" sldId="2881"/>
            <ac:spMk id="7" creationId="{7F046E85-FB03-4F01-BE6B-57C21FFE4875}"/>
          </ac:spMkLst>
        </pc:spChg>
        <pc:picChg chg="mod">
          <ac:chgData name="Łukasz Bartnicki" userId="f5fa5770-7d4b-4839-bd65-47daadd6c741" providerId="ADAL" clId="{DD1D0391-8C74-4C48-AA28-098DF531FE2F}" dt="2024-01-09T14:44:33.303" v="2636" actId="1076"/>
          <ac:picMkLst>
            <pc:docMk/>
            <pc:sldMk cId="3953656298" sldId="2881"/>
            <ac:picMk id="2" creationId="{F75F5827-BDD5-A353-52A1-ED77343900D0}"/>
          </ac:picMkLst>
        </pc:picChg>
        <pc:picChg chg="mod">
          <ac:chgData name="Łukasz Bartnicki" userId="f5fa5770-7d4b-4839-bd65-47daadd6c741" providerId="ADAL" clId="{DD1D0391-8C74-4C48-AA28-098DF531FE2F}" dt="2024-01-09T14:44:29.527" v="2635" actId="1076"/>
          <ac:picMkLst>
            <pc:docMk/>
            <pc:sldMk cId="3953656298" sldId="2881"/>
            <ac:picMk id="4" creationId="{A23BC30C-B052-433E-BFD8-94E334B52992}"/>
          </ac:picMkLst>
        </pc:picChg>
      </pc:sldChg>
      <pc:sldChg chg="del">
        <pc:chgData name="Łukasz Bartnicki" userId="f5fa5770-7d4b-4839-bd65-47daadd6c741" providerId="ADAL" clId="{DD1D0391-8C74-4C48-AA28-098DF531FE2F}" dt="2024-01-09T12:01:26.922" v="36" actId="47"/>
        <pc:sldMkLst>
          <pc:docMk/>
          <pc:sldMk cId="2441262337" sldId="2883"/>
        </pc:sldMkLst>
      </pc:sldChg>
      <pc:sldChg chg="addSp delSp modSp mod">
        <pc:chgData name="Łukasz Bartnicki" userId="f5fa5770-7d4b-4839-bd65-47daadd6c741" providerId="ADAL" clId="{DD1D0391-8C74-4C48-AA28-098DF531FE2F}" dt="2024-01-09T13:45:59.116" v="254" actId="20577"/>
        <pc:sldMkLst>
          <pc:docMk/>
          <pc:sldMk cId="3381700933" sldId="2883"/>
        </pc:sldMkLst>
        <pc:spChg chg="add del mod">
          <ac:chgData name="Łukasz Bartnicki" userId="f5fa5770-7d4b-4839-bd65-47daadd6c741" providerId="ADAL" clId="{DD1D0391-8C74-4C48-AA28-098DF531FE2F}" dt="2024-01-09T13:45:52.333" v="230" actId="478"/>
          <ac:spMkLst>
            <pc:docMk/>
            <pc:sldMk cId="3381700933" sldId="2883"/>
            <ac:spMk id="3" creationId="{EC699974-0A10-9B48-BC68-921D44C21B5C}"/>
          </ac:spMkLst>
        </pc:spChg>
        <pc:spChg chg="add mod">
          <ac:chgData name="Łukasz Bartnicki" userId="f5fa5770-7d4b-4839-bd65-47daadd6c741" providerId="ADAL" clId="{DD1D0391-8C74-4C48-AA28-098DF531FE2F}" dt="2024-01-09T13:45:59.116" v="254" actId="20577"/>
          <ac:spMkLst>
            <pc:docMk/>
            <pc:sldMk cId="3381700933" sldId="2883"/>
            <ac:spMk id="4" creationId="{945B9319-1F6C-BE13-2C96-59A90AD919A9}"/>
          </ac:spMkLst>
        </pc:spChg>
        <pc:spChg chg="del mod">
          <ac:chgData name="Łukasz Bartnicki" userId="f5fa5770-7d4b-4839-bd65-47daadd6c741" providerId="ADAL" clId="{DD1D0391-8C74-4C48-AA28-098DF531FE2F}" dt="2024-01-09T13:45:49.126" v="227" actId="478"/>
          <ac:spMkLst>
            <pc:docMk/>
            <pc:sldMk cId="3381700933" sldId="2883"/>
            <ac:spMk id="37" creationId="{00000000-0000-0000-0000-000000000000}"/>
          </ac:spMkLst>
        </pc:spChg>
        <pc:spChg chg="mod">
          <ac:chgData name="Łukasz Bartnicki" userId="f5fa5770-7d4b-4839-bd65-47daadd6c741" providerId="ADAL" clId="{DD1D0391-8C74-4C48-AA28-098DF531FE2F}" dt="2024-01-09T12:11:11.690" v="217" actId="1076"/>
          <ac:spMkLst>
            <pc:docMk/>
            <pc:sldMk cId="3381700933" sldId="2883"/>
            <ac:spMk id="40" creationId="{00000000-0000-0000-0000-000000000000}"/>
          </ac:spMkLst>
        </pc:spChg>
      </pc:sldChg>
      <pc:sldChg chg="addSp delSp modSp new mod">
        <pc:chgData name="Łukasz Bartnicki" userId="f5fa5770-7d4b-4839-bd65-47daadd6c741" providerId="ADAL" clId="{DD1D0391-8C74-4C48-AA28-098DF531FE2F}" dt="2024-01-09T13:50:36.755" v="581" actId="1076"/>
        <pc:sldMkLst>
          <pc:docMk/>
          <pc:sldMk cId="2193576316" sldId="2884"/>
        </pc:sldMkLst>
        <pc:spChg chg="add del mod">
          <ac:chgData name="Łukasz Bartnicki" userId="f5fa5770-7d4b-4839-bd65-47daadd6c741" providerId="ADAL" clId="{DD1D0391-8C74-4C48-AA28-098DF531FE2F}" dt="2024-01-09T13:50:09.388" v="500" actId="478"/>
          <ac:spMkLst>
            <pc:docMk/>
            <pc:sldMk cId="2193576316" sldId="2884"/>
            <ac:spMk id="2" creationId="{2E6030DD-7E25-949A-27E0-796FC489B559}"/>
          </ac:spMkLst>
        </pc:spChg>
        <pc:spChg chg="add mod">
          <ac:chgData name="Łukasz Bartnicki" userId="f5fa5770-7d4b-4839-bd65-47daadd6c741" providerId="ADAL" clId="{DD1D0391-8C74-4C48-AA28-098DF531FE2F}" dt="2024-01-09T12:04:28.757" v="112" actId="27636"/>
          <ac:spMkLst>
            <pc:docMk/>
            <pc:sldMk cId="2193576316" sldId="2884"/>
            <ac:spMk id="5" creationId="{258B0956-2601-2476-362E-E3E061BBE4A1}"/>
          </ac:spMkLst>
        </pc:spChg>
        <pc:spChg chg="add mod">
          <ac:chgData name="Łukasz Bartnicki" userId="f5fa5770-7d4b-4839-bd65-47daadd6c741" providerId="ADAL" clId="{DD1D0391-8C74-4C48-AA28-098DF531FE2F}" dt="2024-01-09T13:50:36.755" v="581" actId="1076"/>
          <ac:spMkLst>
            <pc:docMk/>
            <pc:sldMk cId="2193576316" sldId="2884"/>
            <ac:spMk id="6" creationId="{22DACBD7-49AD-2438-9EE7-1FBB95DDE6EF}"/>
          </ac:spMkLst>
        </pc:spChg>
        <pc:picChg chg="add mod">
          <ac:chgData name="Łukasz Bartnicki" userId="f5fa5770-7d4b-4839-bd65-47daadd6c741" providerId="ADAL" clId="{DD1D0391-8C74-4C48-AA28-098DF531FE2F}" dt="2024-01-09T12:04:28.757" v="112" actId="27636"/>
          <ac:picMkLst>
            <pc:docMk/>
            <pc:sldMk cId="2193576316" sldId="2884"/>
            <ac:picMk id="3" creationId="{6D1AF660-0905-85CC-ACE3-0E733E422DC2}"/>
          </ac:picMkLst>
        </pc:picChg>
        <pc:picChg chg="add mod">
          <ac:chgData name="Łukasz Bartnicki" userId="f5fa5770-7d4b-4839-bd65-47daadd6c741" providerId="ADAL" clId="{DD1D0391-8C74-4C48-AA28-098DF531FE2F}" dt="2024-01-09T12:04:28.757" v="112" actId="27636"/>
          <ac:picMkLst>
            <pc:docMk/>
            <pc:sldMk cId="2193576316" sldId="2884"/>
            <ac:picMk id="4" creationId="{D0AD2E7C-8C6E-602D-7C55-378B44186816}"/>
          </ac:picMkLst>
        </pc:picChg>
      </pc:sldChg>
      <pc:sldChg chg="add del">
        <pc:chgData name="Łukasz Bartnicki" userId="f5fa5770-7d4b-4839-bd65-47daadd6c741" providerId="ADAL" clId="{DD1D0391-8C74-4C48-AA28-098DF531FE2F}" dt="2024-01-09T12:04:21.851" v="108" actId="47"/>
        <pc:sldMkLst>
          <pc:docMk/>
          <pc:sldMk cId="1365457146" sldId="2885"/>
        </pc:sldMkLst>
      </pc:sldChg>
      <pc:sldChg chg="addSp delSp modSp new del mod">
        <pc:chgData name="Łukasz Bartnicki" userId="f5fa5770-7d4b-4839-bd65-47daadd6c741" providerId="ADAL" clId="{DD1D0391-8C74-4C48-AA28-098DF531FE2F}" dt="2024-01-09T12:06:44.777" v="152" actId="47"/>
        <pc:sldMkLst>
          <pc:docMk/>
          <pc:sldMk cId="4076977970" sldId="2885"/>
        </pc:sldMkLst>
        <pc:spChg chg="del">
          <ac:chgData name="Łukasz Bartnicki" userId="f5fa5770-7d4b-4839-bd65-47daadd6c741" providerId="ADAL" clId="{DD1D0391-8C74-4C48-AA28-098DF531FE2F}" dt="2024-01-09T12:06:23.887" v="147" actId="478"/>
          <ac:spMkLst>
            <pc:docMk/>
            <pc:sldMk cId="4076977970" sldId="2885"/>
            <ac:spMk id="2" creationId="{90A86B77-4BC3-6B5E-B2D7-EAA58729E93B}"/>
          </ac:spMkLst>
        </pc:spChg>
        <pc:spChg chg="del">
          <ac:chgData name="Łukasz Bartnicki" userId="f5fa5770-7d4b-4839-bd65-47daadd6c741" providerId="ADAL" clId="{DD1D0391-8C74-4C48-AA28-098DF531FE2F}" dt="2024-01-09T12:06:22.708" v="146" actId="478"/>
          <ac:spMkLst>
            <pc:docMk/>
            <pc:sldMk cId="4076977970" sldId="2885"/>
            <ac:spMk id="3" creationId="{B178A2A9-4284-80A7-D598-9F7C6B9D0A2F}"/>
          </ac:spMkLst>
        </pc:spChg>
        <pc:spChg chg="add del mod">
          <ac:chgData name="Łukasz Bartnicki" userId="f5fa5770-7d4b-4839-bd65-47daadd6c741" providerId="ADAL" clId="{DD1D0391-8C74-4C48-AA28-098DF531FE2F}" dt="2024-01-09T12:06:39.504" v="151"/>
          <ac:spMkLst>
            <pc:docMk/>
            <pc:sldMk cId="4076977970" sldId="2885"/>
            <ac:spMk id="4" creationId="{1C9ED658-B8D3-F81C-F431-25576AB33C5A}"/>
          </ac:spMkLst>
        </pc:spChg>
        <pc:spChg chg="add del mod">
          <ac:chgData name="Łukasz Bartnicki" userId="f5fa5770-7d4b-4839-bd65-47daadd6c741" providerId="ADAL" clId="{DD1D0391-8C74-4C48-AA28-098DF531FE2F}" dt="2024-01-09T12:06:39.504" v="151"/>
          <ac:spMkLst>
            <pc:docMk/>
            <pc:sldMk cId="4076977970" sldId="2885"/>
            <ac:spMk id="5" creationId="{448EC0BD-71B4-4A0E-9ED2-ADFA95B1AE5F}"/>
          </ac:spMkLst>
        </pc:spChg>
        <pc:picChg chg="add del mod">
          <ac:chgData name="Łukasz Bartnicki" userId="f5fa5770-7d4b-4839-bd65-47daadd6c741" providerId="ADAL" clId="{DD1D0391-8C74-4C48-AA28-098DF531FE2F}" dt="2024-01-09T12:06:39.504" v="151"/>
          <ac:picMkLst>
            <pc:docMk/>
            <pc:sldMk cId="4076977970" sldId="2885"/>
            <ac:picMk id="6" creationId="{2D7A0B6C-117A-324A-5EF6-250E7F0DE347}"/>
          </ac:picMkLst>
        </pc:picChg>
        <pc:picChg chg="add del mod">
          <ac:chgData name="Łukasz Bartnicki" userId="f5fa5770-7d4b-4839-bd65-47daadd6c741" providerId="ADAL" clId="{DD1D0391-8C74-4C48-AA28-098DF531FE2F}" dt="2024-01-09T12:06:39.504" v="151"/>
          <ac:picMkLst>
            <pc:docMk/>
            <pc:sldMk cId="4076977970" sldId="2885"/>
            <ac:picMk id="7" creationId="{F98DFA6C-D8F0-E7B1-0F63-98F2335EB588}"/>
          </ac:picMkLst>
        </pc:picChg>
      </pc:sldChg>
      <pc:sldMasterChg chg="delSldLayout modSldLayout">
        <pc:chgData name="Łukasz Bartnicki" userId="f5fa5770-7d4b-4839-bd65-47daadd6c741" providerId="ADAL" clId="{DD1D0391-8C74-4C48-AA28-098DF531FE2F}" dt="2024-01-09T12:08:02.559" v="162" actId="478"/>
        <pc:sldMasterMkLst>
          <pc:docMk/>
          <pc:sldMasterMk cId="2229949935" sldId="2147483699"/>
        </pc:sldMasterMkLst>
        <pc:sldLayoutChg chg="delSp">
          <pc:chgData name="Łukasz Bartnicki" userId="f5fa5770-7d4b-4839-bd65-47daadd6c741" providerId="ADAL" clId="{DD1D0391-8C74-4C48-AA28-098DF531FE2F}" dt="2024-01-09T12:07:52.206" v="156" actId="478"/>
          <pc:sldLayoutMkLst>
            <pc:docMk/>
            <pc:sldMasterMk cId="2229949935" sldId="2147483699"/>
            <pc:sldLayoutMk cId="2767421454" sldId="2147483701"/>
          </pc:sldLayoutMkLst>
          <pc:picChg chg="del">
            <ac:chgData name="Łukasz Bartnicki" userId="f5fa5770-7d4b-4839-bd65-47daadd6c741" providerId="ADAL" clId="{DD1D0391-8C74-4C48-AA28-098DF531FE2F}" dt="2024-01-09T12:07:52.206" v="156" actId="478"/>
            <ac:picMkLst>
              <pc:docMk/>
              <pc:sldMasterMk cId="2229949935" sldId="2147483699"/>
              <pc:sldLayoutMk cId="2767421454" sldId="2147483701"/>
              <ac:picMk id="1028" creationId="{677B75E1-CB8B-404F-B0F3-CB6D7788104B}"/>
            </ac:picMkLst>
          </pc:picChg>
        </pc:sldLayoutChg>
        <pc:sldLayoutChg chg="delSp">
          <pc:chgData name="Łukasz Bartnicki" userId="f5fa5770-7d4b-4839-bd65-47daadd6c741" providerId="ADAL" clId="{DD1D0391-8C74-4C48-AA28-098DF531FE2F}" dt="2024-01-09T12:07:54.573" v="157" actId="478"/>
          <pc:sldLayoutMkLst>
            <pc:docMk/>
            <pc:sldMasterMk cId="2229949935" sldId="2147483699"/>
            <pc:sldLayoutMk cId="4001755460" sldId="2147483703"/>
          </pc:sldLayoutMkLst>
          <pc:picChg chg="del">
            <ac:chgData name="Łukasz Bartnicki" userId="f5fa5770-7d4b-4839-bd65-47daadd6c741" providerId="ADAL" clId="{DD1D0391-8C74-4C48-AA28-098DF531FE2F}" dt="2024-01-09T12:07:54.573" v="157" actId="478"/>
            <ac:picMkLst>
              <pc:docMk/>
              <pc:sldMasterMk cId="2229949935" sldId="2147483699"/>
              <pc:sldLayoutMk cId="4001755460" sldId="2147483703"/>
              <ac:picMk id="5" creationId="{DF8D5B0E-4DA5-48A7-826E-775B64F36A92}"/>
            </ac:picMkLst>
          </pc:picChg>
        </pc:sldLayoutChg>
        <pc:sldLayoutChg chg="delSp">
          <pc:chgData name="Łukasz Bartnicki" userId="f5fa5770-7d4b-4839-bd65-47daadd6c741" providerId="ADAL" clId="{DD1D0391-8C74-4C48-AA28-098DF531FE2F}" dt="2024-01-09T12:07:56.063" v="158" actId="478"/>
          <pc:sldLayoutMkLst>
            <pc:docMk/>
            <pc:sldMasterMk cId="2229949935" sldId="2147483699"/>
            <pc:sldLayoutMk cId="2647956806" sldId="2147483704"/>
          </pc:sldLayoutMkLst>
          <pc:picChg chg="del">
            <ac:chgData name="Łukasz Bartnicki" userId="f5fa5770-7d4b-4839-bd65-47daadd6c741" providerId="ADAL" clId="{DD1D0391-8C74-4C48-AA28-098DF531FE2F}" dt="2024-01-09T12:07:56.063" v="158" actId="478"/>
            <ac:picMkLst>
              <pc:docMk/>
              <pc:sldMasterMk cId="2229949935" sldId="2147483699"/>
              <pc:sldLayoutMk cId="2647956806" sldId="2147483704"/>
              <ac:picMk id="7" creationId="{190DB92A-FDB0-4C2F-B74B-D2631538F357}"/>
            </ac:picMkLst>
          </pc:picChg>
        </pc:sldLayoutChg>
        <pc:sldLayoutChg chg="delSp">
          <pc:chgData name="Łukasz Bartnicki" userId="f5fa5770-7d4b-4839-bd65-47daadd6c741" providerId="ADAL" clId="{DD1D0391-8C74-4C48-AA28-098DF531FE2F}" dt="2024-01-09T12:07:57.423" v="159" actId="478"/>
          <pc:sldLayoutMkLst>
            <pc:docMk/>
            <pc:sldMasterMk cId="2229949935" sldId="2147483699"/>
            <pc:sldLayoutMk cId="2506551335" sldId="2147483705"/>
          </pc:sldLayoutMkLst>
          <pc:picChg chg="del">
            <ac:chgData name="Łukasz Bartnicki" userId="f5fa5770-7d4b-4839-bd65-47daadd6c741" providerId="ADAL" clId="{DD1D0391-8C74-4C48-AA28-098DF531FE2F}" dt="2024-01-09T12:07:57.423" v="159" actId="478"/>
            <ac:picMkLst>
              <pc:docMk/>
              <pc:sldMasterMk cId="2229949935" sldId="2147483699"/>
              <pc:sldLayoutMk cId="2506551335" sldId="2147483705"/>
              <ac:picMk id="3" creationId="{4CA5E760-4C31-495F-9AF4-61D718FEEBA1}"/>
            </ac:picMkLst>
          </pc:picChg>
        </pc:sldLayoutChg>
        <pc:sldLayoutChg chg="delSp">
          <pc:chgData name="Łukasz Bartnicki" userId="f5fa5770-7d4b-4839-bd65-47daadd6c741" providerId="ADAL" clId="{DD1D0391-8C74-4C48-AA28-098DF531FE2F}" dt="2024-01-09T12:07:58.784" v="160" actId="478"/>
          <pc:sldLayoutMkLst>
            <pc:docMk/>
            <pc:sldMasterMk cId="2229949935" sldId="2147483699"/>
            <pc:sldLayoutMk cId="2525813378" sldId="2147483706"/>
          </pc:sldLayoutMkLst>
          <pc:picChg chg="del">
            <ac:chgData name="Łukasz Bartnicki" userId="f5fa5770-7d4b-4839-bd65-47daadd6c741" providerId="ADAL" clId="{DD1D0391-8C74-4C48-AA28-098DF531FE2F}" dt="2024-01-09T12:07:58.784" v="160" actId="478"/>
            <ac:picMkLst>
              <pc:docMk/>
              <pc:sldMasterMk cId="2229949935" sldId="2147483699"/>
              <pc:sldLayoutMk cId="2525813378" sldId="2147483706"/>
              <ac:picMk id="2" creationId="{97FBA575-ACC1-4F85-A790-F7591395DA55}"/>
            </ac:picMkLst>
          </pc:picChg>
        </pc:sldLayoutChg>
        <pc:sldLayoutChg chg="delSp">
          <pc:chgData name="Łukasz Bartnicki" userId="f5fa5770-7d4b-4839-bd65-47daadd6c741" providerId="ADAL" clId="{DD1D0391-8C74-4C48-AA28-098DF531FE2F}" dt="2024-01-09T12:08:00.543" v="161" actId="478"/>
          <pc:sldLayoutMkLst>
            <pc:docMk/>
            <pc:sldMasterMk cId="2229949935" sldId="2147483699"/>
            <pc:sldLayoutMk cId="127114400" sldId="2147483707"/>
          </pc:sldLayoutMkLst>
          <pc:picChg chg="del">
            <ac:chgData name="Łukasz Bartnicki" userId="f5fa5770-7d4b-4839-bd65-47daadd6c741" providerId="ADAL" clId="{DD1D0391-8C74-4C48-AA28-098DF531FE2F}" dt="2024-01-09T12:08:00.543" v="161" actId="478"/>
            <ac:picMkLst>
              <pc:docMk/>
              <pc:sldMasterMk cId="2229949935" sldId="2147483699"/>
              <pc:sldLayoutMk cId="127114400" sldId="2147483707"/>
              <ac:picMk id="5" creationId="{C9899499-55FE-49D3-B8A1-42960332FCA2}"/>
            </ac:picMkLst>
          </pc:picChg>
        </pc:sldLayoutChg>
        <pc:sldLayoutChg chg="delSp">
          <pc:chgData name="Łukasz Bartnicki" userId="f5fa5770-7d4b-4839-bd65-47daadd6c741" providerId="ADAL" clId="{DD1D0391-8C74-4C48-AA28-098DF531FE2F}" dt="2024-01-09T12:08:02.559" v="162" actId="478"/>
          <pc:sldLayoutMkLst>
            <pc:docMk/>
            <pc:sldMasterMk cId="2229949935" sldId="2147483699"/>
            <pc:sldLayoutMk cId="2925407540" sldId="2147483708"/>
          </pc:sldLayoutMkLst>
          <pc:picChg chg="del">
            <ac:chgData name="Łukasz Bartnicki" userId="f5fa5770-7d4b-4839-bd65-47daadd6c741" providerId="ADAL" clId="{DD1D0391-8C74-4C48-AA28-098DF531FE2F}" dt="2024-01-09T12:08:02.559" v="162" actId="478"/>
            <ac:picMkLst>
              <pc:docMk/>
              <pc:sldMasterMk cId="2229949935" sldId="2147483699"/>
              <pc:sldLayoutMk cId="2925407540" sldId="2147483708"/>
              <ac:picMk id="5" creationId="{F7D61F96-6D96-477E-BBF3-C2B75ACC5ACD}"/>
            </ac:picMkLst>
          </pc:picChg>
        </pc:sldLayoutChg>
        <pc:sldLayoutChg chg="del">
          <pc:chgData name="Łukasz Bartnicki" userId="f5fa5770-7d4b-4839-bd65-47daadd6c741" providerId="ADAL" clId="{DD1D0391-8C74-4C48-AA28-098DF531FE2F}" dt="2024-01-09T12:01:26.922" v="36" actId="47"/>
          <pc:sldLayoutMkLst>
            <pc:docMk/>
            <pc:sldMasterMk cId="2229949935" sldId="2147483699"/>
            <pc:sldLayoutMk cId="412077406" sldId="2147483718"/>
          </pc:sldLayoutMkLst>
        </pc:sldLayoutChg>
      </pc:sldMasterChg>
      <pc:sldMasterChg chg="new del mod addSldLayout delSldLayout">
        <pc:chgData name="Łukasz Bartnicki" userId="f5fa5770-7d4b-4839-bd65-47daadd6c741" providerId="ADAL" clId="{DD1D0391-8C74-4C48-AA28-098DF531FE2F}" dt="2024-01-09T12:08:19.168" v="164" actId="6938"/>
        <pc:sldMasterMkLst>
          <pc:docMk/>
          <pc:sldMasterMk cId="3821419514" sldId="2147483718"/>
        </pc:sldMasterMkLst>
        <pc:sldLayoutChg chg="new del replId">
          <pc:chgData name="Łukasz Bartnicki" userId="f5fa5770-7d4b-4839-bd65-47daadd6c741" providerId="ADAL" clId="{DD1D0391-8C74-4C48-AA28-098DF531FE2F}" dt="2024-01-09T12:08:19.168" v="164" actId="6938"/>
          <pc:sldLayoutMkLst>
            <pc:docMk/>
            <pc:sldMasterMk cId="3821419514" sldId="2147483718"/>
            <pc:sldLayoutMk cId="3883988912" sldId="2147483719"/>
          </pc:sldLayoutMkLst>
        </pc:sldLayoutChg>
        <pc:sldLayoutChg chg="new del replId">
          <pc:chgData name="Łukasz Bartnicki" userId="f5fa5770-7d4b-4839-bd65-47daadd6c741" providerId="ADAL" clId="{DD1D0391-8C74-4C48-AA28-098DF531FE2F}" dt="2024-01-09T12:08:19.168" v="164" actId="6938"/>
          <pc:sldLayoutMkLst>
            <pc:docMk/>
            <pc:sldMasterMk cId="3821419514" sldId="2147483718"/>
            <pc:sldLayoutMk cId="1354318487" sldId="2147483720"/>
          </pc:sldLayoutMkLst>
        </pc:sldLayoutChg>
        <pc:sldLayoutChg chg="new del replId">
          <pc:chgData name="Łukasz Bartnicki" userId="f5fa5770-7d4b-4839-bd65-47daadd6c741" providerId="ADAL" clId="{DD1D0391-8C74-4C48-AA28-098DF531FE2F}" dt="2024-01-09T12:08:19.168" v="164" actId="6938"/>
          <pc:sldLayoutMkLst>
            <pc:docMk/>
            <pc:sldMasterMk cId="3821419514" sldId="2147483718"/>
            <pc:sldLayoutMk cId="3391538547" sldId="2147483721"/>
          </pc:sldLayoutMkLst>
        </pc:sldLayoutChg>
        <pc:sldLayoutChg chg="new del replId">
          <pc:chgData name="Łukasz Bartnicki" userId="f5fa5770-7d4b-4839-bd65-47daadd6c741" providerId="ADAL" clId="{DD1D0391-8C74-4C48-AA28-098DF531FE2F}" dt="2024-01-09T12:08:19.168" v="164" actId="6938"/>
          <pc:sldLayoutMkLst>
            <pc:docMk/>
            <pc:sldMasterMk cId="3821419514" sldId="2147483718"/>
            <pc:sldLayoutMk cId="1053451039" sldId="2147483722"/>
          </pc:sldLayoutMkLst>
        </pc:sldLayoutChg>
        <pc:sldLayoutChg chg="new del replId">
          <pc:chgData name="Łukasz Bartnicki" userId="f5fa5770-7d4b-4839-bd65-47daadd6c741" providerId="ADAL" clId="{DD1D0391-8C74-4C48-AA28-098DF531FE2F}" dt="2024-01-09T12:08:19.168" v="164" actId="6938"/>
          <pc:sldLayoutMkLst>
            <pc:docMk/>
            <pc:sldMasterMk cId="3821419514" sldId="2147483718"/>
            <pc:sldLayoutMk cId="2438552953" sldId="2147483723"/>
          </pc:sldLayoutMkLst>
        </pc:sldLayoutChg>
        <pc:sldLayoutChg chg="new del replId">
          <pc:chgData name="Łukasz Bartnicki" userId="f5fa5770-7d4b-4839-bd65-47daadd6c741" providerId="ADAL" clId="{DD1D0391-8C74-4C48-AA28-098DF531FE2F}" dt="2024-01-09T12:08:19.168" v="164" actId="6938"/>
          <pc:sldLayoutMkLst>
            <pc:docMk/>
            <pc:sldMasterMk cId="3821419514" sldId="2147483718"/>
            <pc:sldLayoutMk cId="160048405" sldId="2147483724"/>
          </pc:sldLayoutMkLst>
        </pc:sldLayoutChg>
        <pc:sldLayoutChg chg="new del replId">
          <pc:chgData name="Łukasz Bartnicki" userId="f5fa5770-7d4b-4839-bd65-47daadd6c741" providerId="ADAL" clId="{DD1D0391-8C74-4C48-AA28-098DF531FE2F}" dt="2024-01-09T12:08:19.168" v="164" actId="6938"/>
          <pc:sldLayoutMkLst>
            <pc:docMk/>
            <pc:sldMasterMk cId="3821419514" sldId="2147483718"/>
            <pc:sldLayoutMk cId="2149030025" sldId="2147483725"/>
          </pc:sldLayoutMkLst>
        </pc:sldLayoutChg>
        <pc:sldLayoutChg chg="new del replId">
          <pc:chgData name="Łukasz Bartnicki" userId="f5fa5770-7d4b-4839-bd65-47daadd6c741" providerId="ADAL" clId="{DD1D0391-8C74-4C48-AA28-098DF531FE2F}" dt="2024-01-09T12:08:19.168" v="164" actId="6938"/>
          <pc:sldLayoutMkLst>
            <pc:docMk/>
            <pc:sldMasterMk cId="3821419514" sldId="2147483718"/>
            <pc:sldLayoutMk cId="1737474441" sldId="2147483726"/>
          </pc:sldLayoutMkLst>
        </pc:sldLayoutChg>
        <pc:sldLayoutChg chg="new del replId">
          <pc:chgData name="Łukasz Bartnicki" userId="f5fa5770-7d4b-4839-bd65-47daadd6c741" providerId="ADAL" clId="{DD1D0391-8C74-4C48-AA28-098DF531FE2F}" dt="2024-01-09T12:08:19.168" v="164" actId="6938"/>
          <pc:sldLayoutMkLst>
            <pc:docMk/>
            <pc:sldMasterMk cId="3821419514" sldId="2147483718"/>
            <pc:sldLayoutMk cId="360964758" sldId="2147483727"/>
          </pc:sldLayoutMkLst>
        </pc:sldLayoutChg>
        <pc:sldLayoutChg chg="new del replId">
          <pc:chgData name="Łukasz Bartnicki" userId="f5fa5770-7d4b-4839-bd65-47daadd6c741" providerId="ADAL" clId="{DD1D0391-8C74-4C48-AA28-098DF531FE2F}" dt="2024-01-09T12:08:19.168" v="164" actId="6938"/>
          <pc:sldLayoutMkLst>
            <pc:docMk/>
            <pc:sldMasterMk cId="3821419514" sldId="2147483718"/>
            <pc:sldLayoutMk cId="2178787303" sldId="2147483728"/>
          </pc:sldLayoutMkLst>
        </pc:sldLayoutChg>
        <pc:sldLayoutChg chg="new del replId">
          <pc:chgData name="Łukasz Bartnicki" userId="f5fa5770-7d4b-4839-bd65-47daadd6c741" providerId="ADAL" clId="{DD1D0391-8C74-4C48-AA28-098DF531FE2F}" dt="2024-01-09T12:08:19.168" v="164" actId="6938"/>
          <pc:sldLayoutMkLst>
            <pc:docMk/>
            <pc:sldMasterMk cId="3821419514" sldId="2147483718"/>
            <pc:sldLayoutMk cId="72974133" sldId="2147483729"/>
          </pc:sldLayoutMkLst>
        </pc:sldLayoutChg>
      </pc:sldMasterChg>
    </pc:docChg>
  </pc:docChgLst>
  <pc:docChgLst>
    <pc:chgData name="Łukasz Bartnicki" userId="f5fa5770-7d4b-4839-bd65-47daadd6c741" providerId="ADAL" clId="{A5B48FE0-8173-4137-9A8F-910B59D1A955}"/>
    <pc:docChg chg="undo custSel addSld modSld sldOrd modNotesMaster modHandout">
      <pc:chgData name="Łukasz Bartnicki" userId="f5fa5770-7d4b-4839-bd65-47daadd6c741" providerId="ADAL" clId="{A5B48FE0-8173-4137-9A8F-910B59D1A955}" dt="2023-11-27T10:19:14.642" v="2220" actId="1076"/>
      <pc:docMkLst>
        <pc:docMk/>
      </pc:docMkLst>
      <pc:sldChg chg="modSp mod">
        <pc:chgData name="Łukasz Bartnicki" userId="f5fa5770-7d4b-4839-bd65-47daadd6c741" providerId="ADAL" clId="{A5B48FE0-8173-4137-9A8F-910B59D1A955}" dt="2023-11-27T08:23:29.524" v="99" actId="20577"/>
        <pc:sldMkLst>
          <pc:docMk/>
          <pc:sldMk cId="2078524455" sldId="547"/>
        </pc:sldMkLst>
        <pc:spChg chg="mod">
          <ac:chgData name="Łukasz Bartnicki" userId="f5fa5770-7d4b-4839-bd65-47daadd6c741" providerId="ADAL" clId="{A5B48FE0-8173-4137-9A8F-910B59D1A955}" dt="2023-11-27T08:23:29.524" v="99" actId="20577"/>
          <ac:spMkLst>
            <pc:docMk/>
            <pc:sldMk cId="2078524455" sldId="547"/>
            <ac:spMk id="47" creationId="{CBBCC2DC-2621-432D-996C-C130D183622C}"/>
          </ac:spMkLst>
        </pc:spChg>
      </pc:sldChg>
      <pc:sldChg chg="addSp modSp mod">
        <pc:chgData name="Łukasz Bartnicki" userId="f5fa5770-7d4b-4839-bd65-47daadd6c741" providerId="ADAL" clId="{A5B48FE0-8173-4137-9A8F-910B59D1A955}" dt="2023-11-27T10:19:14.642" v="2220" actId="1076"/>
        <pc:sldMkLst>
          <pc:docMk/>
          <pc:sldMk cId="4280238782" sldId="559"/>
        </pc:sldMkLst>
        <pc:spChg chg="add mod">
          <ac:chgData name="Łukasz Bartnicki" userId="f5fa5770-7d4b-4839-bd65-47daadd6c741" providerId="ADAL" clId="{A5B48FE0-8173-4137-9A8F-910B59D1A955}" dt="2023-11-27T10:19:14.642" v="2220" actId="1076"/>
          <ac:spMkLst>
            <pc:docMk/>
            <pc:sldMk cId="4280238782" sldId="559"/>
            <ac:spMk id="4" creationId="{1F8A6222-998E-3EC0-BF82-3FF34726A0E4}"/>
          </ac:spMkLst>
        </pc:spChg>
        <pc:picChg chg="add mod">
          <ac:chgData name="Łukasz Bartnicki" userId="f5fa5770-7d4b-4839-bd65-47daadd6c741" providerId="ADAL" clId="{A5B48FE0-8173-4137-9A8F-910B59D1A955}" dt="2023-11-27T10:19:14.642" v="2220" actId="1076"/>
          <ac:picMkLst>
            <pc:docMk/>
            <pc:sldMk cId="4280238782" sldId="559"/>
            <ac:picMk id="3" creationId="{FA24F3FA-0084-A9E1-8056-557B7DB8BDC0}"/>
          </ac:picMkLst>
        </pc:picChg>
      </pc:sldChg>
      <pc:sldChg chg="modSp mod">
        <pc:chgData name="Łukasz Bartnicki" userId="f5fa5770-7d4b-4839-bd65-47daadd6c741" providerId="ADAL" clId="{A5B48FE0-8173-4137-9A8F-910B59D1A955}" dt="2023-11-27T08:21:53.078" v="54" actId="1076"/>
        <pc:sldMkLst>
          <pc:docMk/>
          <pc:sldMk cId="0" sldId="561"/>
        </pc:sldMkLst>
        <pc:spChg chg="mod">
          <ac:chgData name="Łukasz Bartnicki" userId="f5fa5770-7d4b-4839-bd65-47daadd6c741" providerId="ADAL" clId="{A5B48FE0-8173-4137-9A8F-910B59D1A955}" dt="2023-11-27T08:21:53.078" v="54" actId="1076"/>
          <ac:spMkLst>
            <pc:docMk/>
            <pc:sldMk cId="0" sldId="561"/>
            <ac:spMk id="24" creationId="{CBBCC2DC-2621-432D-996C-C130D183622C}"/>
          </ac:spMkLst>
        </pc:spChg>
      </pc:sldChg>
      <pc:sldChg chg="delSp modSp mod">
        <pc:chgData name="Łukasz Bartnicki" userId="f5fa5770-7d4b-4839-bd65-47daadd6c741" providerId="ADAL" clId="{A5B48FE0-8173-4137-9A8F-910B59D1A955}" dt="2023-11-27T08:21:14.071" v="51" actId="1076"/>
        <pc:sldMkLst>
          <pc:docMk/>
          <pc:sldMk cId="0" sldId="565"/>
        </pc:sldMkLst>
        <pc:spChg chg="del">
          <ac:chgData name="Łukasz Bartnicki" userId="f5fa5770-7d4b-4839-bd65-47daadd6c741" providerId="ADAL" clId="{A5B48FE0-8173-4137-9A8F-910B59D1A955}" dt="2023-11-27T08:21:08.985" v="49" actId="478"/>
          <ac:spMkLst>
            <pc:docMk/>
            <pc:sldMk cId="0" sldId="565"/>
            <ac:spMk id="7" creationId="{00000000-0000-0000-0000-000000000000}"/>
          </ac:spMkLst>
        </pc:spChg>
        <pc:spChg chg="mod">
          <ac:chgData name="Łukasz Bartnicki" userId="f5fa5770-7d4b-4839-bd65-47daadd6c741" providerId="ADAL" clId="{A5B48FE0-8173-4137-9A8F-910B59D1A955}" dt="2023-11-27T08:21:14.071" v="51" actId="1076"/>
          <ac:spMkLst>
            <pc:docMk/>
            <pc:sldMk cId="0" sldId="565"/>
            <ac:spMk id="11" creationId="{51C879A3-02D2-4609-AD7E-64B746A01749}"/>
          </ac:spMkLst>
        </pc:spChg>
        <pc:grpChg chg="mod">
          <ac:chgData name="Łukasz Bartnicki" userId="f5fa5770-7d4b-4839-bd65-47daadd6c741" providerId="ADAL" clId="{A5B48FE0-8173-4137-9A8F-910B59D1A955}" dt="2023-11-27T08:21:11.028" v="50" actId="1076"/>
          <ac:grpSpMkLst>
            <pc:docMk/>
            <pc:sldMk cId="0" sldId="565"/>
            <ac:grpSpMk id="8" creationId="{00000000-0000-0000-0000-000000000000}"/>
          </ac:grpSpMkLst>
        </pc:grpChg>
      </pc:sldChg>
      <pc:sldChg chg="addSp delSp modSp mod">
        <pc:chgData name="Łukasz Bartnicki" userId="f5fa5770-7d4b-4839-bd65-47daadd6c741" providerId="ADAL" clId="{A5B48FE0-8173-4137-9A8F-910B59D1A955}" dt="2023-11-27T10:19:08.765" v="2218" actId="1076"/>
        <pc:sldMkLst>
          <pc:docMk/>
          <pc:sldMk cId="1395386405" sldId="568"/>
        </pc:sldMkLst>
        <pc:spChg chg="add del mod">
          <ac:chgData name="Łukasz Bartnicki" userId="f5fa5770-7d4b-4839-bd65-47daadd6c741" providerId="ADAL" clId="{A5B48FE0-8173-4137-9A8F-910B59D1A955}" dt="2023-11-27T10:18:56.479" v="2216"/>
          <ac:spMkLst>
            <pc:docMk/>
            <pc:sldMk cId="1395386405" sldId="568"/>
            <ac:spMk id="5" creationId="{91DC9274-7259-1B00-637C-6DEF8E7256A4}"/>
          </ac:spMkLst>
        </pc:spChg>
        <pc:spChg chg="add mod">
          <ac:chgData name="Łukasz Bartnicki" userId="f5fa5770-7d4b-4839-bd65-47daadd6c741" providerId="ADAL" clId="{A5B48FE0-8173-4137-9A8F-910B59D1A955}" dt="2023-11-27T10:19:08.765" v="2218" actId="1076"/>
          <ac:spMkLst>
            <pc:docMk/>
            <pc:sldMk cId="1395386405" sldId="568"/>
            <ac:spMk id="8" creationId="{A1AA57A1-AC44-BB53-D14D-DFCC141B9AE4}"/>
          </ac:spMkLst>
        </pc:spChg>
        <pc:picChg chg="add mod">
          <ac:chgData name="Łukasz Bartnicki" userId="f5fa5770-7d4b-4839-bd65-47daadd6c741" providerId="ADAL" clId="{A5B48FE0-8173-4137-9A8F-910B59D1A955}" dt="2023-11-27T10:19:08.765" v="2218" actId="1076"/>
          <ac:picMkLst>
            <pc:docMk/>
            <pc:sldMk cId="1395386405" sldId="568"/>
            <ac:picMk id="7" creationId="{851A1C91-E81F-E382-30AD-F714F8082EBF}"/>
          </ac:picMkLst>
        </pc:picChg>
      </pc:sldChg>
      <pc:sldChg chg="addSp modSp mod">
        <pc:chgData name="Łukasz Bartnicki" userId="f5fa5770-7d4b-4839-bd65-47daadd6c741" providerId="ADAL" clId="{A5B48FE0-8173-4137-9A8F-910B59D1A955}" dt="2023-11-27T09:45:38.128" v="2211" actId="20577"/>
        <pc:sldMkLst>
          <pc:docMk/>
          <pc:sldMk cId="0" sldId="569"/>
        </pc:sldMkLst>
        <pc:spChg chg="mod">
          <ac:chgData name="Łukasz Bartnicki" userId="f5fa5770-7d4b-4839-bd65-47daadd6c741" providerId="ADAL" clId="{A5B48FE0-8173-4137-9A8F-910B59D1A955}" dt="2023-11-27T09:45:11.745" v="2175" actId="14100"/>
          <ac:spMkLst>
            <pc:docMk/>
            <pc:sldMk cId="0" sldId="569"/>
            <ac:spMk id="5" creationId="{71AA3144-3754-406F-A227-6A726A1EF061}"/>
          </ac:spMkLst>
        </pc:spChg>
        <pc:spChg chg="mod">
          <ac:chgData name="Łukasz Bartnicki" userId="f5fa5770-7d4b-4839-bd65-47daadd6c741" providerId="ADAL" clId="{A5B48FE0-8173-4137-9A8F-910B59D1A955}" dt="2023-11-27T09:45:11.745" v="2175" actId="14100"/>
          <ac:spMkLst>
            <pc:docMk/>
            <pc:sldMk cId="0" sldId="569"/>
            <ac:spMk id="6" creationId="{71AA3144-3754-406F-A227-6A726A1EF061}"/>
          </ac:spMkLst>
        </pc:spChg>
        <pc:spChg chg="mod">
          <ac:chgData name="Łukasz Bartnicki" userId="f5fa5770-7d4b-4839-bd65-47daadd6c741" providerId="ADAL" clId="{A5B48FE0-8173-4137-9A8F-910B59D1A955}" dt="2023-11-27T09:45:11.745" v="2175" actId="14100"/>
          <ac:spMkLst>
            <pc:docMk/>
            <pc:sldMk cId="0" sldId="569"/>
            <ac:spMk id="7" creationId="{71AA3144-3754-406F-A227-6A726A1EF061}"/>
          </ac:spMkLst>
        </pc:spChg>
        <pc:spChg chg="mod">
          <ac:chgData name="Łukasz Bartnicki" userId="f5fa5770-7d4b-4839-bd65-47daadd6c741" providerId="ADAL" clId="{A5B48FE0-8173-4137-9A8F-910B59D1A955}" dt="2023-11-27T09:45:23.648" v="2184" actId="20577"/>
          <ac:spMkLst>
            <pc:docMk/>
            <pc:sldMk cId="0" sldId="569"/>
            <ac:spMk id="8" creationId="{71AA3144-3754-406F-A227-6A726A1EF061}"/>
          </ac:spMkLst>
        </pc:spChg>
        <pc:spChg chg="add mod">
          <ac:chgData name="Łukasz Bartnicki" userId="f5fa5770-7d4b-4839-bd65-47daadd6c741" providerId="ADAL" clId="{A5B48FE0-8173-4137-9A8F-910B59D1A955}" dt="2023-11-27T09:43:07.431" v="2160" actId="1076"/>
          <ac:spMkLst>
            <pc:docMk/>
            <pc:sldMk cId="0" sldId="569"/>
            <ac:spMk id="9" creationId="{3F563820-ACF4-72F9-0AA9-DBC449AD7D9C}"/>
          </ac:spMkLst>
        </pc:spChg>
        <pc:spChg chg="mod">
          <ac:chgData name="Łukasz Bartnicki" userId="f5fa5770-7d4b-4839-bd65-47daadd6c741" providerId="ADAL" clId="{A5B48FE0-8173-4137-9A8F-910B59D1A955}" dt="2023-11-27T09:45:11.745" v="2175" actId="14100"/>
          <ac:spMkLst>
            <pc:docMk/>
            <pc:sldMk cId="0" sldId="569"/>
            <ac:spMk id="10" creationId="{71AA3144-3754-406F-A227-6A726A1EF061}"/>
          </ac:spMkLst>
        </pc:spChg>
        <pc:spChg chg="add mod">
          <ac:chgData name="Łukasz Bartnicki" userId="f5fa5770-7d4b-4839-bd65-47daadd6c741" providerId="ADAL" clId="{A5B48FE0-8173-4137-9A8F-910B59D1A955}" dt="2023-11-27T09:45:38.128" v="2211" actId="20577"/>
          <ac:spMkLst>
            <pc:docMk/>
            <pc:sldMk cId="0" sldId="569"/>
            <ac:spMk id="11" creationId="{ACD936AF-F889-73A8-4275-164D46CED90D}"/>
          </ac:spMkLst>
        </pc:spChg>
        <pc:spChg chg="mod">
          <ac:chgData name="Łukasz Bartnicki" userId="f5fa5770-7d4b-4839-bd65-47daadd6c741" providerId="ADAL" clId="{A5B48FE0-8173-4137-9A8F-910B59D1A955}" dt="2023-11-27T09:45:11.745" v="2175" actId="14100"/>
          <ac:spMkLst>
            <pc:docMk/>
            <pc:sldMk cId="0" sldId="569"/>
            <ac:spMk id="13" creationId="{00000000-0000-0000-0000-000000000000}"/>
          </ac:spMkLst>
        </pc:spChg>
        <pc:spChg chg="mod">
          <ac:chgData name="Łukasz Bartnicki" userId="f5fa5770-7d4b-4839-bd65-47daadd6c741" providerId="ADAL" clId="{A5B48FE0-8173-4137-9A8F-910B59D1A955}" dt="2023-11-27T09:45:11.745" v="2175" actId="14100"/>
          <ac:spMkLst>
            <pc:docMk/>
            <pc:sldMk cId="0" sldId="569"/>
            <ac:spMk id="14" creationId="{00000000-0000-0000-0000-000000000000}"/>
          </ac:spMkLst>
        </pc:spChg>
        <pc:spChg chg="mod">
          <ac:chgData name="Łukasz Bartnicki" userId="f5fa5770-7d4b-4839-bd65-47daadd6c741" providerId="ADAL" clId="{A5B48FE0-8173-4137-9A8F-910B59D1A955}" dt="2023-11-27T09:45:11.745" v="2175" actId="14100"/>
          <ac:spMkLst>
            <pc:docMk/>
            <pc:sldMk cId="0" sldId="569"/>
            <ac:spMk id="15" creationId="{00000000-0000-0000-0000-000000000000}"/>
          </ac:spMkLst>
        </pc:spChg>
        <pc:spChg chg="mod">
          <ac:chgData name="Łukasz Bartnicki" userId="f5fa5770-7d4b-4839-bd65-47daadd6c741" providerId="ADAL" clId="{A5B48FE0-8173-4137-9A8F-910B59D1A955}" dt="2023-11-27T09:42:55.885" v="2158" actId="14100"/>
          <ac:spMkLst>
            <pc:docMk/>
            <pc:sldMk cId="0" sldId="569"/>
            <ac:spMk id="16" creationId="{C48BD05E-BA9A-E55A-B634-864E6122D341}"/>
          </ac:spMkLst>
        </pc:spChg>
        <pc:spChg chg="mod">
          <ac:chgData name="Łukasz Bartnicki" userId="f5fa5770-7d4b-4839-bd65-47daadd6c741" providerId="ADAL" clId="{A5B48FE0-8173-4137-9A8F-910B59D1A955}" dt="2023-11-27T09:45:11.745" v="2175" actId="14100"/>
          <ac:spMkLst>
            <pc:docMk/>
            <pc:sldMk cId="0" sldId="569"/>
            <ac:spMk id="19" creationId="{00000000-0000-0000-0000-000000000000}"/>
          </ac:spMkLst>
        </pc:spChg>
        <pc:spChg chg="mod">
          <ac:chgData name="Łukasz Bartnicki" userId="f5fa5770-7d4b-4839-bd65-47daadd6c741" providerId="ADAL" clId="{A5B48FE0-8173-4137-9A8F-910B59D1A955}" dt="2023-11-27T09:45:11.745" v="2175" actId="14100"/>
          <ac:spMkLst>
            <pc:docMk/>
            <pc:sldMk cId="0" sldId="569"/>
            <ac:spMk id="20" creationId="{00000000-0000-0000-0000-000000000000}"/>
          </ac:spMkLst>
        </pc:spChg>
        <pc:spChg chg="mod">
          <ac:chgData name="Łukasz Bartnicki" userId="f5fa5770-7d4b-4839-bd65-47daadd6c741" providerId="ADAL" clId="{A5B48FE0-8173-4137-9A8F-910B59D1A955}" dt="2023-11-27T09:45:11.745" v="2175" actId="14100"/>
          <ac:spMkLst>
            <pc:docMk/>
            <pc:sldMk cId="0" sldId="569"/>
            <ac:spMk id="21" creationId="{00000000-0000-0000-0000-000000000000}"/>
          </ac:spMkLst>
        </pc:spChg>
        <pc:spChg chg="mod">
          <ac:chgData name="Łukasz Bartnicki" userId="f5fa5770-7d4b-4839-bd65-47daadd6c741" providerId="ADAL" clId="{A5B48FE0-8173-4137-9A8F-910B59D1A955}" dt="2023-11-27T09:45:11.745" v="2175" actId="14100"/>
          <ac:spMkLst>
            <pc:docMk/>
            <pc:sldMk cId="0" sldId="569"/>
            <ac:spMk id="25" creationId="{00000000-0000-0000-0000-000000000000}"/>
          </ac:spMkLst>
        </pc:spChg>
        <pc:spChg chg="mod">
          <ac:chgData name="Łukasz Bartnicki" userId="f5fa5770-7d4b-4839-bd65-47daadd6c741" providerId="ADAL" clId="{A5B48FE0-8173-4137-9A8F-910B59D1A955}" dt="2023-11-27T09:45:11.745" v="2175" actId="14100"/>
          <ac:spMkLst>
            <pc:docMk/>
            <pc:sldMk cId="0" sldId="569"/>
            <ac:spMk id="33" creationId="{00000000-0000-0000-0000-000000000000}"/>
          </ac:spMkLst>
        </pc:spChg>
        <pc:grpChg chg="mod">
          <ac:chgData name="Łukasz Bartnicki" userId="f5fa5770-7d4b-4839-bd65-47daadd6c741" providerId="ADAL" clId="{A5B48FE0-8173-4137-9A8F-910B59D1A955}" dt="2023-11-27T09:45:11.745" v="2175" actId="14100"/>
          <ac:grpSpMkLst>
            <pc:docMk/>
            <pc:sldMk cId="0" sldId="569"/>
            <ac:grpSpMk id="2" creationId="{00000000-0000-0000-0000-000000000000}"/>
          </ac:grpSpMkLst>
        </pc:grpChg>
        <pc:grpChg chg="mod">
          <ac:chgData name="Łukasz Bartnicki" userId="f5fa5770-7d4b-4839-bd65-47daadd6c741" providerId="ADAL" clId="{A5B48FE0-8173-4137-9A8F-910B59D1A955}" dt="2023-11-27T09:45:11.745" v="2175" actId="14100"/>
          <ac:grpSpMkLst>
            <pc:docMk/>
            <pc:sldMk cId="0" sldId="569"/>
            <ac:grpSpMk id="3" creationId="{00000000-0000-0000-0000-000000000000}"/>
          </ac:grpSpMkLst>
        </pc:grpChg>
        <pc:grpChg chg="mod">
          <ac:chgData name="Łukasz Bartnicki" userId="f5fa5770-7d4b-4839-bd65-47daadd6c741" providerId="ADAL" clId="{A5B48FE0-8173-4137-9A8F-910B59D1A955}" dt="2023-11-27T09:45:11.745" v="2175" actId="14100"/>
          <ac:grpSpMkLst>
            <pc:docMk/>
            <pc:sldMk cId="0" sldId="569"/>
            <ac:grpSpMk id="24" creationId="{00000000-0000-0000-0000-000000000000}"/>
          </ac:grpSpMkLst>
        </pc:grpChg>
      </pc:sldChg>
      <pc:sldChg chg="addSp delSp modSp mod">
        <pc:chgData name="Łukasz Bartnicki" userId="f5fa5770-7d4b-4839-bd65-47daadd6c741" providerId="ADAL" clId="{A5B48FE0-8173-4137-9A8F-910B59D1A955}" dt="2023-11-27T08:22:43.991" v="74" actId="1076"/>
        <pc:sldMkLst>
          <pc:docMk/>
          <pc:sldMk cId="3953656298" sldId="2881"/>
        </pc:sldMkLst>
        <pc:spChg chg="mod">
          <ac:chgData name="Łukasz Bartnicki" userId="f5fa5770-7d4b-4839-bd65-47daadd6c741" providerId="ADAL" clId="{A5B48FE0-8173-4137-9A8F-910B59D1A955}" dt="2023-11-27T08:20:20.739" v="40" actId="207"/>
          <ac:spMkLst>
            <pc:docMk/>
            <pc:sldMk cId="3953656298" sldId="2881"/>
            <ac:spMk id="5" creationId="{4D9F8FBE-9C89-4233-8F57-E8A5AF553057}"/>
          </ac:spMkLst>
        </pc:spChg>
        <pc:spChg chg="del mod">
          <ac:chgData name="Łukasz Bartnicki" userId="f5fa5770-7d4b-4839-bd65-47daadd6c741" providerId="ADAL" clId="{A5B48FE0-8173-4137-9A8F-910B59D1A955}" dt="2023-11-27T08:22:10.059" v="60" actId="478"/>
          <ac:spMkLst>
            <pc:docMk/>
            <pc:sldMk cId="3953656298" sldId="2881"/>
            <ac:spMk id="6" creationId="{A5D0F5F3-D11C-A5FE-0C01-E09FED5C7345}"/>
          </ac:spMkLst>
        </pc:spChg>
        <pc:spChg chg="add del mod">
          <ac:chgData name="Łukasz Bartnicki" userId="f5fa5770-7d4b-4839-bd65-47daadd6c741" providerId="ADAL" clId="{A5B48FE0-8173-4137-9A8F-910B59D1A955}" dt="2023-11-27T08:20:28.566" v="41" actId="1076"/>
          <ac:spMkLst>
            <pc:docMk/>
            <pc:sldMk cId="3953656298" sldId="2881"/>
            <ac:spMk id="7" creationId="{7F046E85-FB03-4F01-BE6B-57C21FFE4875}"/>
          </ac:spMkLst>
        </pc:spChg>
        <pc:spChg chg="add del mod">
          <ac:chgData name="Łukasz Bartnicki" userId="f5fa5770-7d4b-4839-bd65-47daadd6c741" providerId="ADAL" clId="{A5B48FE0-8173-4137-9A8F-910B59D1A955}" dt="2023-11-27T08:22:18.452" v="66"/>
          <ac:spMkLst>
            <pc:docMk/>
            <pc:sldMk cId="3953656298" sldId="2881"/>
            <ac:spMk id="8" creationId="{CAC78D90-B3DA-6A15-633B-C8C604854053}"/>
          </ac:spMkLst>
        </pc:spChg>
        <pc:spChg chg="add del">
          <ac:chgData name="Łukasz Bartnicki" userId="f5fa5770-7d4b-4839-bd65-47daadd6c741" providerId="ADAL" clId="{A5B48FE0-8173-4137-9A8F-910B59D1A955}" dt="2023-11-27T08:22:18.450" v="64" actId="22"/>
          <ac:spMkLst>
            <pc:docMk/>
            <pc:sldMk cId="3953656298" sldId="2881"/>
            <ac:spMk id="10" creationId="{176F713F-2CC4-9E21-97E8-2E82D41B2B6C}"/>
          </ac:spMkLst>
        </pc:spChg>
        <pc:spChg chg="add mod">
          <ac:chgData name="Łukasz Bartnicki" userId="f5fa5770-7d4b-4839-bd65-47daadd6c741" providerId="ADAL" clId="{A5B48FE0-8173-4137-9A8F-910B59D1A955}" dt="2023-11-27T08:22:43.991" v="74" actId="1076"/>
          <ac:spMkLst>
            <pc:docMk/>
            <pc:sldMk cId="3953656298" sldId="2881"/>
            <ac:spMk id="12" creationId="{27E80F16-F6A3-F44E-3E88-83B5E343F4B9}"/>
          </ac:spMkLst>
        </pc:spChg>
        <pc:picChg chg="add mod">
          <ac:chgData name="Łukasz Bartnicki" userId="f5fa5770-7d4b-4839-bd65-47daadd6c741" providerId="ADAL" clId="{A5B48FE0-8173-4137-9A8F-910B59D1A955}" dt="2023-11-27T08:22:43.991" v="74" actId="1076"/>
          <ac:picMkLst>
            <pc:docMk/>
            <pc:sldMk cId="3953656298" sldId="2881"/>
            <ac:picMk id="2" creationId="{F75F5827-BDD5-A353-52A1-ED77343900D0}"/>
          </ac:picMkLst>
        </pc:picChg>
        <pc:picChg chg="mod">
          <ac:chgData name="Łukasz Bartnicki" userId="f5fa5770-7d4b-4839-bd65-47daadd6c741" providerId="ADAL" clId="{A5B48FE0-8173-4137-9A8F-910B59D1A955}" dt="2023-11-27T08:20:28.566" v="41" actId="1076"/>
          <ac:picMkLst>
            <pc:docMk/>
            <pc:sldMk cId="3953656298" sldId="2881"/>
            <ac:picMk id="4" creationId="{A23BC30C-B052-433E-BFD8-94E334B52992}"/>
          </ac:picMkLst>
        </pc:picChg>
      </pc:sldChg>
      <pc:sldChg chg="addSp delSp modSp new mod modShow">
        <pc:chgData name="Łukasz Bartnicki" userId="f5fa5770-7d4b-4839-bd65-47daadd6c741" providerId="ADAL" clId="{A5B48FE0-8173-4137-9A8F-910B59D1A955}" dt="2023-11-27T08:52:15.215" v="434" actId="14100"/>
        <pc:sldMkLst>
          <pc:docMk/>
          <pc:sldMk cId="1359742152" sldId="2882"/>
        </pc:sldMkLst>
        <pc:spChg chg="del">
          <ac:chgData name="Łukasz Bartnicki" userId="f5fa5770-7d4b-4839-bd65-47daadd6c741" providerId="ADAL" clId="{A5B48FE0-8173-4137-9A8F-910B59D1A955}" dt="2023-11-27T08:23:44.841" v="101" actId="478"/>
          <ac:spMkLst>
            <pc:docMk/>
            <pc:sldMk cId="1359742152" sldId="2882"/>
            <ac:spMk id="2" creationId="{D5A15818-1EDA-A8CE-455E-94D2125E3351}"/>
          </ac:spMkLst>
        </pc:spChg>
        <pc:spChg chg="del">
          <ac:chgData name="Łukasz Bartnicki" userId="f5fa5770-7d4b-4839-bd65-47daadd6c741" providerId="ADAL" clId="{A5B48FE0-8173-4137-9A8F-910B59D1A955}" dt="2023-11-27T08:23:46.296" v="102" actId="478"/>
          <ac:spMkLst>
            <pc:docMk/>
            <pc:sldMk cId="1359742152" sldId="2882"/>
            <ac:spMk id="3" creationId="{563EDF49-2A41-3FE0-BA04-5EEC0B696992}"/>
          </ac:spMkLst>
        </pc:spChg>
        <pc:spChg chg="add mod">
          <ac:chgData name="Łukasz Bartnicki" userId="f5fa5770-7d4b-4839-bd65-47daadd6c741" providerId="ADAL" clId="{A5B48FE0-8173-4137-9A8F-910B59D1A955}" dt="2023-11-27T08:42:44.885" v="317" actId="20577"/>
          <ac:spMkLst>
            <pc:docMk/>
            <pc:sldMk cId="1359742152" sldId="2882"/>
            <ac:spMk id="5" creationId="{A1889AE4-2673-2CD1-A322-CE4DDCAAECC0}"/>
          </ac:spMkLst>
        </pc:spChg>
        <pc:spChg chg="add mod">
          <ac:chgData name="Łukasz Bartnicki" userId="f5fa5770-7d4b-4839-bd65-47daadd6c741" providerId="ADAL" clId="{A5B48FE0-8173-4137-9A8F-910B59D1A955}" dt="2023-11-27T08:24:48.602" v="236" actId="113"/>
          <ac:spMkLst>
            <pc:docMk/>
            <pc:sldMk cId="1359742152" sldId="2882"/>
            <ac:spMk id="6" creationId="{8E57D581-DB36-9C8D-25E7-59C48FA05ECD}"/>
          </ac:spMkLst>
        </pc:spChg>
        <pc:picChg chg="add mod">
          <ac:chgData name="Łukasz Bartnicki" userId="f5fa5770-7d4b-4839-bd65-47daadd6c741" providerId="ADAL" clId="{A5B48FE0-8173-4137-9A8F-910B59D1A955}" dt="2023-11-27T08:23:57.923" v="104" actId="1076"/>
          <ac:picMkLst>
            <pc:docMk/>
            <pc:sldMk cId="1359742152" sldId="2882"/>
            <ac:picMk id="4" creationId="{66C1EDD8-02BD-7CD9-275B-90CE1FEF975D}"/>
          </ac:picMkLst>
        </pc:picChg>
        <pc:picChg chg="add mod">
          <ac:chgData name="Łukasz Bartnicki" userId="f5fa5770-7d4b-4839-bd65-47daadd6c741" providerId="ADAL" clId="{A5B48FE0-8173-4137-9A8F-910B59D1A955}" dt="2023-11-27T08:51:06.154" v="415" actId="1076"/>
          <ac:picMkLst>
            <pc:docMk/>
            <pc:sldMk cId="1359742152" sldId="2882"/>
            <ac:picMk id="8" creationId="{5EC40D2F-CE42-F793-9477-F80BEC0FBA02}"/>
          </ac:picMkLst>
        </pc:picChg>
        <pc:picChg chg="add mod">
          <ac:chgData name="Łukasz Bartnicki" userId="f5fa5770-7d4b-4839-bd65-47daadd6c741" providerId="ADAL" clId="{A5B48FE0-8173-4137-9A8F-910B59D1A955}" dt="2023-11-27T08:51:12.525" v="418" actId="14100"/>
          <ac:picMkLst>
            <pc:docMk/>
            <pc:sldMk cId="1359742152" sldId="2882"/>
            <ac:picMk id="9" creationId="{CF8F814E-DA65-B115-3320-853A1002667F}"/>
          </ac:picMkLst>
        </pc:picChg>
        <pc:picChg chg="add mod">
          <ac:chgData name="Łukasz Bartnicki" userId="f5fa5770-7d4b-4839-bd65-47daadd6c741" providerId="ADAL" clId="{A5B48FE0-8173-4137-9A8F-910B59D1A955}" dt="2023-11-27T08:51:24.341" v="424" actId="1037"/>
          <ac:picMkLst>
            <pc:docMk/>
            <pc:sldMk cId="1359742152" sldId="2882"/>
            <ac:picMk id="10" creationId="{ABE400FE-1F21-F3BE-4723-B4267AC359AF}"/>
          </ac:picMkLst>
        </pc:picChg>
        <pc:picChg chg="add mod">
          <ac:chgData name="Łukasz Bartnicki" userId="f5fa5770-7d4b-4839-bd65-47daadd6c741" providerId="ADAL" clId="{A5B48FE0-8173-4137-9A8F-910B59D1A955}" dt="2023-11-27T08:51:40.457" v="427" actId="14100"/>
          <ac:picMkLst>
            <pc:docMk/>
            <pc:sldMk cId="1359742152" sldId="2882"/>
            <ac:picMk id="11" creationId="{0B301BE3-40A8-D58B-D8EA-0E0391A609FA}"/>
          </ac:picMkLst>
        </pc:picChg>
        <pc:picChg chg="add mod">
          <ac:chgData name="Łukasz Bartnicki" userId="f5fa5770-7d4b-4839-bd65-47daadd6c741" providerId="ADAL" clId="{A5B48FE0-8173-4137-9A8F-910B59D1A955}" dt="2023-11-27T08:52:15.215" v="434" actId="14100"/>
          <ac:picMkLst>
            <pc:docMk/>
            <pc:sldMk cId="1359742152" sldId="2882"/>
            <ac:picMk id="12" creationId="{4F5D96EE-FAE7-0A18-8560-B71AACFA284B}"/>
          </ac:picMkLst>
        </pc:picChg>
        <pc:picChg chg="add mod">
          <ac:chgData name="Łukasz Bartnicki" userId="f5fa5770-7d4b-4839-bd65-47daadd6c741" providerId="ADAL" clId="{A5B48FE0-8173-4137-9A8F-910B59D1A955}" dt="2023-11-27T08:52:10.454" v="433" actId="14100"/>
          <ac:picMkLst>
            <pc:docMk/>
            <pc:sldMk cId="1359742152" sldId="2882"/>
            <ac:picMk id="13" creationId="{05BAF9EF-F558-A19E-32EC-B43485659C52}"/>
          </ac:picMkLst>
        </pc:picChg>
        <pc:picChg chg="add mod">
          <ac:chgData name="Łukasz Bartnicki" userId="f5fa5770-7d4b-4839-bd65-47daadd6c741" providerId="ADAL" clId="{A5B48FE0-8173-4137-9A8F-910B59D1A955}" dt="2023-11-27T08:44:50.594" v="343" actId="1076"/>
          <ac:picMkLst>
            <pc:docMk/>
            <pc:sldMk cId="1359742152" sldId="2882"/>
            <ac:picMk id="1026" creationId="{729F7E83-7220-8A33-A149-0BE8A6161230}"/>
          </ac:picMkLst>
        </pc:picChg>
        <pc:picChg chg="add mod">
          <ac:chgData name="Łukasz Bartnicki" userId="f5fa5770-7d4b-4839-bd65-47daadd6c741" providerId="ADAL" clId="{A5B48FE0-8173-4137-9A8F-910B59D1A955}" dt="2023-11-27T08:44:29.643" v="334" actId="14100"/>
          <ac:picMkLst>
            <pc:docMk/>
            <pc:sldMk cId="1359742152" sldId="2882"/>
            <ac:picMk id="1028" creationId="{45E116AA-91A6-1FC3-BABC-A4C9B7210413}"/>
          </ac:picMkLst>
        </pc:picChg>
        <pc:picChg chg="add mod">
          <ac:chgData name="Łukasz Bartnicki" userId="f5fa5770-7d4b-4839-bd65-47daadd6c741" providerId="ADAL" clId="{A5B48FE0-8173-4137-9A8F-910B59D1A955}" dt="2023-11-27T08:44:34.801" v="339" actId="1037"/>
          <ac:picMkLst>
            <pc:docMk/>
            <pc:sldMk cId="1359742152" sldId="2882"/>
            <ac:picMk id="1030" creationId="{C361D57E-B903-2BB5-F6E5-F68D92025EBE}"/>
          </ac:picMkLst>
        </pc:picChg>
        <pc:picChg chg="add mod">
          <ac:chgData name="Łukasz Bartnicki" userId="f5fa5770-7d4b-4839-bd65-47daadd6c741" providerId="ADAL" clId="{A5B48FE0-8173-4137-9A8F-910B59D1A955}" dt="2023-11-27T08:44:42.827" v="341" actId="14100"/>
          <ac:picMkLst>
            <pc:docMk/>
            <pc:sldMk cId="1359742152" sldId="2882"/>
            <ac:picMk id="1032" creationId="{2D805710-949A-A5E9-7790-BF5868F1241D}"/>
          </ac:picMkLst>
        </pc:picChg>
        <pc:picChg chg="add mod">
          <ac:chgData name="Łukasz Bartnicki" userId="f5fa5770-7d4b-4839-bd65-47daadd6c741" providerId="ADAL" clId="{A5B48FE0-8173-4137-9A8F-910B59D1A955}" dt="2023-11-27T08:44:53.343" v="344" actId="14100"/>
          <ac:picMkLst>
            <pc:docMk/>
            <pc:sldMk cId="1359742152" sldId="2882"/>
            <ac:picMk id="1034" creationId="{5EF1FCE1-8941-D9C9-A931-E2BD9BFC7648}"/>
          </ac:picMkLst>
        </pc:picChg>
        <pc:picChg chg="add mod">
          <ac:chgData name="Łukasz Bartnicki" userId="f5fa5770-7d4b-4839-bd65-47daadd6c741" providerId="ADAL" clId="{A5B48FE0-8173-4137-9A8F-910B59D1A955}" dt="2023-11-27T08:51:06.154" v="415" actId="1076"/>
          <ac:picMkLst>
            <pc:docMk/>
            <pc:sldMk cId="1359742152" sldId="2882"/>
            <ac:picMk id="1036" creationId="{1CB4BF7D-C19C-C347-07E9-9EB710D93B0D}"/>
          </ac:picMkLst>
        </pc:picChg>
        <pc:picChg chg="add mod">
          <ac:chgData name="Łukasz Bartnicki" userId="f5fa5770-7d4b-4839-bd65-47daadd6c741" providerId="ADAL" clId="{A5B48FE0-8173-4137-9A8F-910B59D1A955}" dt="2023-11-27T08:51:06.154" v="415" actId="1076"/>
          <ac:picMkLst>
            <pc:docMk/>
            <pc:sldMk cId="1359742152" sldId="2882"/>
            <ac:picMk id="1038" creationId="{D2F6C113-4F55-6B52-9705-B857F83F152B}"/>
          </ac:picMkLst>
        </pc:picChg>
        <pc:picChg chg="add mod">
          <ac:chgData name="Łukasz Bartnicki" userId="f5fa5770-7d4b-4839-bd65-47daadd6c741" providerId="ADAL" clId="{A5B48FE0-8173-4137-9A8F-910B59D1A955}" dt="2023-11-27T08:51:06.154" v="415" actId="1076"/>
          <ac:picMkLst>
            <pc:docMk/>
            <pc:sldMk cId="1359742152" sldId="2882"/>
            <ac:picMk id="1040" creationId="{4157B1EE-DCE9-FE00-E880-8E73470D1DEC}"/>
          </ac:picMkLst>
        </pc:picChg>
        <pc:picChg chg="add mod">
          <ac:chgData name="Łukasz Bartnicki" userId="f5fa5770-7d4b-4839-bd65-47daadd6c741" providerId="ADAL" clId="{A5B48FE0-8173-4137-9A8F-910B59D1A955}" dt="2023-11-27T08:51:06.154" v="415" actId="1076"/>
          <ac:picMkLst>
            <pc:docMk/>
            <pc:sldMk cId="1359742152" sldId="2882"/>
            <ac:picMk id="1042" creationId="{06FA4499-4223-7932-B79B-0D404C6D826B}"/>
          </ac:picMkLst>
        </pc:picChg>
        <pc:picChg chg="add mod">
          <ac:chgData name="Łukasz Bartnicki" userId="f5fa5770-7d4b-4839-bd65-47daadd6c741" providerId="ADAL" clId="{A5B48FE0-8173-4137-9A8F-910B59D1A955}" dt="2023-11-27T08:51:06.154" v="415" actId="1076"/>
          <ac:picMkLst>
            <pc:docMk/>
            <pc:sldMk cId="1359742152" sldId="2882"/>
            <ac:picMk id="1044" creationId="{8B8B4BF6-8E57-7386-1278-499A96855148}"/>
          </ac:picMkLst>
        </pc:picChg>
        <pc:picChg chg="add mod">
          <ac:chgData name="Łukasz Bartnicki" userId="f5fa5770-7d4b-4839-bd65-47daadd6c741" providerId="ADAL" clId="{A5B48FE0-8173-4137-9A8F-910B59D1A955}" dt="2023-11-27T08:44:58.682" v="346" actId="14100"/>
          <ac:picMkLst>
            <pc:docMk/>
            <pc:sldMk cId="1359742152" sldId="2882"/>
            <ac:picMk id="1046" creationId="{8C804391-F456-A0FB-D486-97BB5650C0E2}"/>
          </ac:picMkLst>
        </pc:picChg>
        <pc:picChg chg="add mod">
          <ac:chgData name="Łukasz Bartnicki" userId="f5fa5770-7d4b-4839-bd65-47daadd6c741" providerId="ADAL" clId="{A5B48FE0-8173-4137-9A8F-910B59D1A955}" dt="2023-11-27T08:51:06.154" v="415" actId="1076"/>
          <ac:picMkLst>
            <pc:docMk/>
            <pc:sldMk cId="1359742152" sldId="2882"/>
            <ac:picMk id="1048" creationId="{C1F0E45E-CDFF-E0D6-A788-23A080E44F6E}"/>
          </ac:picMkLst>
        </pc:picChg>
        <pc:picChg chg="add mod">
          <ac:chgData name="Łukasz Bartnicki" userId="f5fa5770-7d4b-4839-bd65-47daadd6c741" providerId="ADAL" clId="{A5B48FE0-8173-4137-9A8F-910B59D1A955}" dt="2023-11-27T08:51:06.154" v="415" actId="1076"/>
          <ac:picMkLst>
            <pc:docMk/>
            <pc:sldMk cId="1359742152" sldId="2882"/>
            <ac:picMk id="1050" creationId="{6B7687CB-4CCA-60C0-D747-626115F4AC4D}"/>
          </ac:picMkLst>
        </pc:picChg>
        <pc:picChg chg="add mod">
          <ac:chgData name="Łukasz Bartnicki" userId="f5fa5770-7d4b-4839-bd65-47daadd6c741" providerId="ADAL" clId="{A5B48FE0-8173-4137-9A8F-910B59D1A955}" dt="2023-11-27T08:51:06.154" v="415" actId="1076"/>
          <ac:picMkLst>
            <pc:docMk/>
            <pc:sldMk cId="1359742152" sldId="2882"/>
            <ac:picMk id="1052" creationId="{4090B886-0AE5-FB26-E152-1A9E18560CAD}"/>
          </ac:picMkLst>
        </pc:picChg>
        <pc:picChg chg="add mod">
          <ac:chgData name="Łukasz Bartnicki" userId="f5fa5770-7d4b-4839-bd65-47daadd6c741" providerId="ADAL" clId="{A5B48FE0-8173-4137-9A8F-910B59D1A955}" dt="2023-11-27T08:49:15.203" v="379" actId="14100"/>
          <ac:picMkLst>
            <pc:docMk/>
            <pc:sldMk cId="1359742152" sldId="2882"/>
            <ac:picMk id="1054" creationId="{134249AA-6E90-B531-19FD-4A63931E45D2}"/>
          </ac:picMkLst>
        </pc:picChg>
        <pc:picChg chg="add mod">
          <ac:chgData name="Łukasz Bartnicki" userId="f5fa5770-7d4b-4839-bd65-47daadd6c741" providerId="ADAL" clId="{A5B48FE0-8173-4137-9A8F-910B59D1A955}" dt="2023-11-27T08:51:06.154" v="415" actId="1076"/>
          <ac:picMkLst>
            <pc:docMk/>
            <pc:sldMk cId="1359742152" sldId="2882"/>
            <ac:picMk id="1056" creationId="{A518049C-8723-CFD6-26BD-FC1299042928}"/>
          </ac:picMkLst>
        </pc:picChg>
      </pc:sldChg>
      <pc:sldChg chg="addSp delSp modSp new mod ord">
        <pc:chgData name="Łukasz Bartnicki" userId="f5fa5770-7d4b-4839-bd65-47daadd6c741" providerId="ADAL" clId="{A5B48FE0-8173-4137-9A8F-910B59D1A955}" dt="2023-11-27T09:46:06.885" v="2213" actId="20577"/>
        <pc:sldMkLst>
          <pc:docMk/>
          <pc:sldMk cId="2441262337" sldId="2883"/>
        </pc:sldMkLst>
        <pc:spChg chg="add del mod">
          <ac:chgData name="Łukasz Bartnicki" userId="f5fa5770-7d4b-4839-bd65-47daadd6c741" providerId="ADAL" clId="{A5B48FE0-8173-4137-9A8F-910B59D1A955}" dt="2023-11-27T09:36:48.588" v="1827" actId="478"/>
          <ac:spMkLst>
            <pc:docMk/>
            <pc:sldMk cId="2441262337" sldId="2883"/>
            <ac:spMk id="4" creationId="{E02E4BD4-9F88-4993-8598-185DE60D16F2}"/>
          </ac:spMkLst>
        </pc:spChg>
        <pc:spChg chg="add del mod">
          <ac:chgData name="Łukasz Bartnicki" userId="f5fa5770-7d4b-4839-bd65-47daadd6c741" providerId="ADAL" clId="{A5B48FE0-8173-4137-9A8F-910B59D1A955}" dt="2023-11-27T09:36:29.674" v="1822" actId="478"/>
          <ac:spMkLst>
            <pc:docMk/>
            <pc:sldMk cId="2441262337" sldId="2883"/>
            <ac:spMk id="6" creationId="{EF93BF93-83B3-C256-86A5-0B01C7FB8BB4}"/>
          </ac:spMkLst>
        </pc:spChg>
        <pc:spChg chg="add del mod">
          <ac:chgData name="Łukasz Bartnicki" userId="f5fa5770-7d4b-4839-bd65-47daadd6c741" providerId="ADAL" clId="{A5B48FE0-8173-4137-9A8F-910B59D1A955}" dt="2023-11-27T09:31:36.251" v="1263" actId="478"/>
          <ac:spMkLst>
            <pc:docMk/>
            <pc:sldMk cId="2441262337" sldId="2883"/>
            <ac:spMk id="8" creationId="{7EB7ACC4-4051-0E0C-CCDD-71AF7203833B}"/>
          </ac:spMkLst>
        </pc:spChg>
        <pc:spChg chg="add del mod">
          <ac:chgData name="Łukasz Bartnicki" userId="f5fa5770-7d4b-4839-bd65-47daadd6c741" providerId="ADAL" clId="{A5B48FE0-8173-4137-9A8F-910B59D1A955}" dt="2023-11-27T09:31:14.829" v="1252"/>
          <ac:spMkLst>
            <pc:docMk/>
            <pc:sldMk cId="2441262337" sldId="2883"/>
            <ac:spMk id="10" creationId="{6592F396-D088-A63A-9129-1521DF98CE9C}"/>
          </ac:spMkLst>
        </pc:spChg>
        <pc:spChg chg="add mod">
          <ac:chgData name="Łukasz Bartnicki" userId="f5fa5770-7d4b-4839-bd65-47daadd6c741" providerId="ADAL" clId="{A5B48FE0-8173-4137-9A8F-910B59D1A955}" dt="2023-11-27T09:36:17.398" v="1821" actId="14100"/>
          <ac:spMkLst>
            <pc:docMk/>
            <pc:sldMk cId="2441262337" sldId="2883"/>
            <ac:spMk id="12" creationId="{7366FF9D-F65D-623C-8178-22937E24944C}"/>
          </ac:spMkLst>
        </pc:spChg>
        <pc:spChg chg="add del mod">
          <ac:chgData name="Łukasz Bartnicki" userId="f5fa5770-7d4b-4839-bd65-47daadd6c741" providerId="ADAL" clId="{A5B48FE0-8173-4137-9A8F-910B59D1A955}" dt="2023-11-27T09:46:06.885" v="2213" actId="20577"/>
          <ac:spMkLst>
            <pc:docMk/>
            <pc:sldMk cId="2441262337" sldId="2883"/>
            <ac:spMk id="23" creationId="{0A83D5DB-5D16-6B0F-BB14-C999C406AB6A}"/>
          </ac:spMkLst>
        </pc:spChg>
        <pc:spChg chg="add mod">
          <ac:chgData name="Łukasz Bartnicki" userId="f5fa5770-7d4b-4839-bd65-47daadd6c741" providerId="ADAL" clId="{A5B48FE0-8173-4137-9A8F-910B59D1A955}" dt="2023-11-27T09:36:13.450" v="1819" actId="14100"/>
          <ac:spMkLst>
            <pc:docMk/>
            <pc:sldMk cId="2441262337" sldId="2883"/>
            <ac:spMk id="24" creationId="{E686CC80-DE31-7B77-CC12-F63A09BB0CBB}"/>
          </ac:spMkLst>
        </pc:spChg>
        <pc:spChg chg="add mod">
          <ac:chgData name="Łukasz Bartnicki" userId="f5fa5770-7d4b-4839-bd65-47daadd6c741" providerId="ADAL" clId="{A5B48FE0-8173-4137-9A8F-910B59D1A955}" dt="2023-11-27T09:39:15.072" v="2037" actId="1076"/>
          <ac:spMkLst>
            <pc:docMk/>
            <pc:sldMk cId="2441262337" sldId="2883"/>
            <ac:spMk id="25" creationId="{12C1647A-2922-C82C-0DFF-3E383E7B1135}"/>
          </ac:spMkLst>
        </pc:spChg>
        <pc:spChg chg="add mod">
          <ac:chgData name="Łukasz Bartnicki" userId="f5fa5770-7d4b-4839-bd65-47daadd6c741" providerId="ADAL" clId="{A5B48FE0-8173-4137-9A8F-910B59D1A955}" dt="2023-11-27T09:40:02.677" v="2112" actId="1076"/>
          <ac:spMkLst>
            <pc:docMk/>
            <pc:sldMk cId="2441262337" sldId="2883"/>
            <ac:spMk id="26" creationId="{D9711AC4-E443-932B-AA72-A136B68AF052}"/>
          </ac:spMkLst>
        </pc:spChg>
        <pc:graphicFrameChg chg="add mod modGraphic">
          <ac:chgData name="Łukasz Bartnicki" userId="f5fa5770-7d4b-4839-bd65-47daadd6c741" providerId="ADAL" clId="{A5B48FE0-8173-4137-9A8F-910B59D1A955}" dt="2023-11-27T09:40:36.167" v="2127" actId="20577"/>
          <ac:graphicFrameMkLst>
            <pc:docMk/>
            <pc:sldMk cId="2441262337" sldId="2883"/>
            <ac:graphicFrameMk id="2" creationId="{93137F55-34E6-5847-46F4-ABA26CC89B1B}"/>
          </ac:graphicFrameMkLst>
        </pc:graphicFrameChg>
        <pc:cxnChg chg="add mod">
          <ac:chgData name="Łukasz Bartnicki" userId="f5fa5770-7d4b-4839-bd65-47daadd6c741" providerId="ADAL" clId="{A5B48FE0-8173-4137-9A8F-910B59D1A955}" dt="2023-11-27T08:58:10.319" v="672" actId="14100"/>
          <ac:cxnSpMkLst>
            <pc:docMk/>
            <pc:sldMk cId="2441262337" sldId="2883"/>
            <ac:cxnSpMk id="14" creationId="{0E7BF14A-5576-A51E-000B-CA80BFEA6EC4}"/>
          </ac:cxnSpMkLst>
        </pc:cxnChg>
        <pc:cxnChg chg="add mod">
          <ac:chgData name="Łukasz Bartnicki" userId="f5fa5770-7d4b-4839-bd65-47daadd6c741" providerId="ADAL" clId="{A5B48FE0-8173-4137-9A8F-910B59D1A955}" dt="2023-11-27T08:58:04.065" v="669" actId="14100"/>
          <ac:cxnSpMkLst>
            <pc:docMk/>
            <pc:sldMk cId="2441262337" sldId="2883"/>
            <ac:cxnSpMk id="15" creationId="{1AA491B8-4A31-A0B0-35F5-1B5C2800EB9C}"/>
          </ac:cxnSpMkLst>
        </pc:cxnChg>
        <pc:cxnChg chg="add mod">
          <ac:chgData name="Łukasz Bartnicki" userId="f5fa5770-7d4b-4839-bd65-47daadd6c741" providerId="ADAL" clId="{A5B48FE0-8173-4137-9A8F-910B59D1A955}" dt="2023-11-27T08:58:22.179" v="678" actId="1037"/>
          <ac:cxnSpMkLst>
            <pc:docMk/>
            <pc:sldMk cId="2441262337" sldId="2883"/>
            <ac:cxnSpMk id="17" creationId="{A1521C31-76B8-0439-7007-332E303AB188}"/>
          </ac:cxnSpMkLst>
        </pc:cxnChg>
        <pc:cxnChg chg="add mod">
          <ac:chgData name="Łukasz Bartnicki" userId="f5fa5770-7d4b-4839-bd65-47daadd6c741" providerId="ADAL" clId="{A5B48FE0-8173-4137-9A8F-910B59D1A955}" dt="2023-11-27T08:58:37.682" v="686" actId="14100"/>
          <ac:cxnSpMkLst>
            <pc:docMk/>
            <pc:sldMk cId="2441262337" sldId="2883"/>
            <ac:cxnSpMk id="21" creationId="{9252E6C6-E3B4-3138-375E-8F8E4DF15872}"/>
          </ac:cxnSpMkLst>
        </pc:cxnChg>
      </pc:sldChg>
    </pc:docChg>
  </pc:docChgLst>
  <pc:docChgLst>
    <pc:chgData name="Łukasz Bartnicki" userId="f5fa5770-7d4b-4839-bd65-47daadd6c741" providerId="ADAL" clId="{234C21AA-D0F6-4075-A26B-8B5CA38B32FE}"/>
    <pc:docChg chg="addSld delSld modSld">
      <pc:chgData name="Łukasz Bartnicki" userId="f5fa5770-7d4b-4839-bd65-47daadd6c741" providerId="ADAL" clId="{234C21AA-D0F6-4075-A26B-8B5CA38B32FE}" dt="2024-04-11T20:48:45.563" v="3" actId="47"/>
      <pc:docMkLst>
        <pc:docMk/>
      </pc:docMkLst>
      <pc:sldChg chg="modSp mod">
        <pc:chgData name="Łukasz Bartnicki" userId="f5fa5770-7d4b-4839-bd65-47daadd6c741" providerId="ADAL" clId="{234C21AA-D0F6-4075-A26B-8B5CA38B32FE}" dt="2024-04-11T20:48:35.518" v="1" actId="20577"/>
        <pc:sldMkLst>
          <pc:docMk/>
          <pc:sldMk cId="0" sldId="561"/>
        </pc:sldMkLst>
        <pc:spChg chg="mod">
          <ac:chgData name="Łukasz Bartnicki" userId="f5fa5770-7d4b-4839-bd65-47daadd6c741" providerId="ADAL" clId="{234C21AA-D0F6-4075-A26B-8B5CA38B32FE}" dt="2024-04-11T20:48:35.518" v="1" actId="20577"/>
          <ac:spMkLst>
            <pc:docMk/>
            <pc:sldMk cId="0" sldId="561"/>
            <ac:spMk id="21" creationId="{00000000-0000-0000-0000-000000000000}"/>
          </ac:spMkLst>
        </pc:spChg>
      </pc:sldChg>
      <pc:sldChg chg="del">
        <pc:chgData name="Łukasz Bartnicki" userId="f5fa5770-7d4b-4839-bd65-47daadd6c741" providerId="ADAL" clId="{234C21AA-D0F6-4075-A26B-8B5CA38B32FE}" dt="2024-04-11T20:48:45.563" v="3" actId="47"/>
        <pc:sldMkLst>
          <pc:docMk/>
          <pc:sldMk cId="829762209" sldId="582"/>
        </pc:sldMkLst>
      </pc:sldChg>
      <pc:sldChg chg="add">
        <pc:chgData name="Łukasz Bartnicki" userId="f5fa5770-7d4b-4839-bd65-47daadd6c741" providerId="ADAL" clId="{234C21AA-D0F6-4075-A26B-8B5CA38B32FE}" dt="2024-04-11T20:48:43.656" v="2"/>
        <pc:sldMkLst>
          <pc:docMk/>
          <pc:sldMk cId="1120732708" sldId="2886"/>
        </pc:sldMkLst>
      </pc:sldChg>
    </pc:docChg>
  </pc:docChgLst>
  <pc:docChgLst>
    <pc:chgData name="Nowak Dariusz" userId="9e578734-b158-4481-befb-868697234f29" providerId="ADAL" clId="{0BF3D16E-93AA-4799-9CCE-DFF64080CEFA}"/>
    <pc:docChg chg="undo custSel addSld delSld modSld sldOrd modMainMaster">
      <pc:chgData name="Nowak Dariusz" userId="9e578734-b158-4481-befb-868697234f29" providerId="ADAL" clId="{0BF3D16E-93AA-4799-9CCE-DFF64080CEFA}" dt="2023-02-20T09:05:32.258" v="228" actId="1076"/>
      <pc:docMkLst>
        <pc:docMk/>
      </pc:docMkLst>
      <pc:sldChg chg="modSp">
        <pc:chgData name="Nowak Dariusz" userId="9e578734-b158-4481-befb-868697234f29" providerId="ADAL" clId="{0BF3D16E-93AA-4799-9CCE-DFF64080CEFA}" dt="2023-02-20T08:55:02.494" v="95"/>
        <pc:sldMkLst>
          <pc:docMk/>
          <pc:sldMk cId="313644379" sldId="546"/>
        </pc:sldMkLst>
        <pc:spChg chg="mod">
          <ac:chgData name="Nowak Dariusz" userId="9e578734-b158-4481-befb-868697234f29" providerId="ADAL" clId="{0BF3D16E-93AA-4799-9CCE-DFF64080CEFA}" dt="2023-02-20T08:55:02.494" v="95"/>
          <ac:spMkLst>
            <pc:docMk/>
            <pc:sldMk cId="313644379" sldId="546"/>
            <ac:spMk id="48" creationId="{00000000-0000-0000-0000-000000000000}"/>
          </ac:spMkLst>
        </pc:spChg>
      </pc:sldChg>
      <pc:sldChg chg="modSp mod">
        <pc:chgData name="Nowak Dariusz" userId="9e578734-b158-4481-befb-868697234f29" providerId="ADAL" clId="{0BF3D16E-93AA-4799-9CCE-DFF64080CEFA}" dt="2023-02-20T09:02:54.369" v="177" actId="20577"/>
        <pc:sldMkLst>
          <pc:docMk/>
          <pc:sldMk cId="2078524455" sldId="547"/>
        </pc:sldMkLst>
        <pc:spChg chg="mod">
          <ac:chgData name="Nowak Dariusz" userId="9e578734-b158-4481-befb-868697234f29" providerId="ADAL" clId="{0BF3D16E-93AA-4799-9CCE-DFF64080CEFA}" dt="2023-02-20T09:02:00.577" v="143" actId="1076"/>
          <ac:spMkLst>
            <pc:docMk/>
            <pc:sldMk cId="2078524455" sldId="547"/>
            <ac:spMk id="2" creationId="{1758F368-DAC9-6DCE-FB16-E24D0EC64554}"/>
          </ac:spMkLst>
        </pc:spChg>
        <pc:spChg chg="mod">
          <ac:chgData name="Nowak Dariusz" userId="9e578734-b158-4481-befb-868697234f29" providerId="ADAL" clId="{0BF3D16E-93AA-4799-9CCE-DFF64080CEFA}" dt="2023-02-20T09:02:00.577" v="143" actId="1076"/>
          <ac:spMkLst>
            <pc:docMk/>
            <pc:sldMk cId="2078524455" sldId="547"/>
            <ac:spMk id="13" creationId="{9238DE87-DDD4-BF5C-CED4-2EC574FB9A69}"/>
          </ac:spMkLst>
        </pc:spChg>
        <pc:spChg chg="mod">
          <ac:chgData name="Nowak Dariusz" userId="9e578734-b158-4481-befb-868697234f29" providerId="ADAL" clId="{0BF3D16E-93AA-4799-9CCE-DFF64080CEFA}" dt="2023-02-20T09:02:54.369" v="177" actId="20577"/>
          <ac:spMkLst>
            <pc:docMk/>
            <pc:sldMk cId="2078524455" sldId="547"/>
            <ac:spMk id="47" creationId="{CBBCC2DC-2621-432D-996C-C130D183622C}"/>
          </ac:spMkLst>
        </pc:spChg>
        <pc:grpChg chg="mod">
          <ac:chgData name="Nowak Dariusz" userId="9e578734-b158-4481-befb-868697234f29" providerId="ADAL" clId="{0BF3D16E-93AA-4799-9CCE-DFF64080CEFA}" dt="2023-02-20T09:02:00.577" v="143" actId="1076"/>
          <ac:grpSpMkLst>
            <pc:docMk/>
            <pc:sldMk cId="2078524455" sldId="547"/>
            <ac:grpSpMk id="48" creationId="{00000000-0000-0000-0000-000000000000}"/>
          </ac:grpSpMkLst>
        </pc:grpChg>
        <pc:picChg chg="mod">
          <ac:chgData name="Nowak Dariusz" userId="9e578734-b158-4481-befb-868697234f29" providerId="ADAL" clId="{0BF3D16E-93AA-4799-9CCE-DFF64080CEFA}" dt="2023-02-20T09:02:00.577" v="143" actId="1076"/>
          <ac:picMkLst>
            <pc:docMk/>
            <pc:sldMk cId="2078524455" sldId="547"/>
            <ac:picMk id="4" creationId="{266E9586-98FE-B743-0417-31168F6CCF9F}"/>
          </ac:picMkLst>
        </pc:picChg>
        <pc:picChg chg="mod">
          <ac:chgData name="Nowak Dariusz" userId="9e578734-b158-4481-befb-868697234f29" providerId="ADAL" clId="{0BF3D16E-93AA-4799-9CCE-DFF64080CEFA}" dt="2023-02-20T09:02:00.577" v="143" actId="1076"/>
          <ac:picMkLst>
            <pc:docMk/>
            <pc:sldMk cId="2078524455" sldId="547"/>
            <ac:picMk id="5" creationId="{DA4FAA9D-0E2C-4467-329F-0129CF4695A3}"/>
          </ac:picMkLst>
        </pc:picChg>
        <pc:picChg chg="mod">
          <ac:chgData name="Nowak Dariusz" userId="9e578734-b158-4481-befb-868697234f29" providerId="ADAL" clId="{0BF3D16E-93AA-4799-9CCE-DFF64080CEFA}" dt="2023-02-20T09:02:00.577" v="143" actId="1076"/>
          <ac:picMkLst>
            <pc:docMk/>
            <pc:sldMk cId="2078524455" sldId="547"/>
            <ac:picMk id="8" creationId="{896E6091-6CA8-4182-0DF5-CF301353B027}"/>
          </ac:picMkLst>
        </pc:picChg>
        <pc:picChg chg="mod">
          <ac:chgData name="Nowak Dariusz" userId="9e578734-b158-4481-befb-868697234f29" providerId="ADAL" clId="{0BF3D16E-93AA-4799-9CCE-DFF64080CEFA}" dt="2023-02-20T09:02:00.577" v="143" actId="1076"/>
          <ac:picMkLst>
            <pc:docMk/>
            <pc:sldMk cId="2078524455" sldId="547"/>
            <ac:picMk id="10" creationId="{82B71438-BAD1-4DDA-65D2-676EB7C1C3EC}"/>
          </ac:picMkLst>
        </pc:picChg>
        <pc:picChg chg="mod">
          <ac:chgData name="Nowak Dariusz" userId="9e578734-b158-4481-befb-868697234f29" providerId="ADAL" clId="{0BF3D16E-93AA-4799-9CCE-DFF64080CEFA}" dt="2023-02-20T09:02:00.577" v="143" actId="1076"/>
          <ac:picMkLst>
            <pc:docMk/>
            <pc:sldMk cId="2078524455" sldId="547"/>
            <ac:picMk id="12" creationId="{82D7316C-7345-51EC-0639-B764C7EA0477}"/>
          </ac:picMkLst>
        </pc:picChg>
        <pc:picChg chg="mod">
          <ac:chgData name="Nowak Dariusz" userId="9e578734-b158-4481-befb-868697234f29" providerId="ADAL" clId="{0BF3D16E-93AA-4799-9CCE-DFF64080CEFA}" dt="2023-02-20T09:02:09.192" v="144" actId="1076"/>
          <ac:picMkLst>
            <pc:docMk/>
            <pc:sldMk cId="2078524455" sldId="547"/>
            <ac:picMk id="16" creationId="{CC770A05-05A0-0081-5C76-4AD15604AAF0}"/>
          </ac:picMkLst>
        </pc:picChg>
        <pc:picChg chg="mod">
          <ac:chgData name="Nowak Dariusz" userId="9e578734-b158-4481-befb-868697234f29" providerId="ADAL" clId="{0BF3D16E-93AA-4799-9CCE-DFF64080CEFA}" dt="2023-02-20T09:02:00.577" v="143" actId="1076"/>
          <ac:picMkLst>
            <pc:docMk/>
            <pc:sldMk cId="2078524455" sldId="547"/>
            <ac:picMk id="19" creationId="{AD2A8BCD-5056-70D6-3BEC-9377D2F418AB}"/>
          </ac:picMkLst>
        </pc:picChg>
        <pc:picChg chg="mod">
          <ac:chgData name="Nowak Dariusz" userId="9e578734-b158-4481-befb-868697234f29" providerId="ADAL" clId="{0BF3D16E-93AA-4799-9CCE-DFF64080CEFA}" dt="2023-02-20T09:02:00.577" v="143" actId="1076"/>
          <ac:picMkLst>
            <pc:docMk/>
            <pc:sldMk cId="2078524455" sldId="547"/>
            <ac:picMk id="20" creationId="{9189272F-B8CD-DB9D-62FB-7A82C56899B0}"/>
          </ac:picMkLst>
        </pc:picChg>
        <pc:picChg chg="mod">
          <ac:chgData name="Nowak Dariusz" userId="9e578734-b158-4481-befb-868697234f29" providerId="ADAL" clId="{0BF3D16E-93AA-4799-9CCE-DFF64080CEFA}" dt="2023-02-20T09:02:00.577" v="143" actId="1076"/>
          <ac:picMkLst>
            <pc:docMk/>
            <pc:sldMk cId="2078524455" sldId="547"/>
            <ac:picMk id="21" creationId="{D83C05AF-18A9-3A05-1243-2DBD9C352EF3}"/>
          </ac:picMkLst>
        </pc:picChg>
        <pc:picChg chg="mod">
          <ac:chgData name="Nowak Dariusz" userId="9e578734-b158-4481-befb-868697234f29" providerId="ADAL" clId="{0BF3D16E-93AA-4799-9CCE-DFF64080CEFA}" dt="2023-02-20T09:02:00.577" v="143" actId="1076"/>
          <ac:picMkLst>
            <pc:docMk/>
            <pc:sldMk cId="2078524455" sldId="547"/>
            <ac:picMk id="22" creationId="{22F4B81B-78C5-1E5C-AAF0-59ECDD90F9C0}"/>
          </ac:picMkLst>
        </pc:picChg>
        <pc:picChg chg="mod">
          <ac:chgData name="Nowak Dariusz" userId="9e578734-b158-4481-befb-868697234f29" providerId="ADAL" clId="{0BF3D16E-93AA-4799-9CCE-DFF64080CEFA}" dt="2023-02-20T09:02:00.577" v="143" actId="1076"/>
          <ac:picMkLst>
            <pc:docMk/>
            <pc:sldMk cId="2078524455" sldId="547"/>
            <ac:picMk id="23" creationId="{8FD851F8-D9CB-2B1C-1FB9-1FCE94F007EF}"/>
          </ac:picMkLst>
        </pc:picChg>
        <pc:picChg chg="mod">
          <ac:chgData name="Nowak Dariusz" userId="9e578734-b158-4481-befb-868697234f29" providerId="ADAL" clId="{0BF3D16E-93AA-4799-9CCE-DFF64080CEFA}" dt="2023-02-20T09:02:33.780" v="146" actId="1076"/>
          <ac:picMkLst>
            <pc:docMk/>
            <pc:sldMk cId="2078524455" sldId="547"/>
            <ac:picMk id="46" creationId="{00000000-0000-0000-0000-000000000000}"/>
          </ac:picMkLst>
        </pc:picChg>
        <pc:cxnChg chg="mod">
          <ac:chgData name="Nowak Dariusz" userId="9e578734-b158-4481-befb-868697234f29" providerId="ADAL" clId="{0BF3D16E-93AA-4799-9CCE-DFF64080CEFA}" dt="2023-02-20T09:02:00.577" v="143" actId="1076"/>
          <ac:cxnSpMkLst>
            <pc:docMk/>
            <pc:sldMk cId="2078524455" sldId="547"/>
            <ac:cxnSpMk id="6" creationId="{A38BBC92-00DF-A50F-8F88-FE35217FD8E6}"/>
          </ac:cxnSpMkLst>
        </pc:cxnChg>
        <pc:cxnChg chg="mod">
          <ac:chgData name="Nowak Dariusz" userId="9e578734-b158-4481-befb-868697234f29" providerId="ADAL" clId="{0BF3D16E-93AA-4799-9CCE-DFF64080CEFA}" dt="2023-02-20T09:02:00.577" v="143" actId="1076"/>
          <ac:cxnSpMkLst>
            <pc:docMk/>
            <pc:sldMk cId="2078524455" sldId="547"/>
            <ac:cxnSpMk id="7" creationId="{D1B67A9B-4B1A-4002-71DC-3DA4E01BEF8E}"/>
          </ac:cxnSpMkLst>
        </pc:cxnChg>
        <pc:cxnChg chg="mod">
          <ac:chgData name="Nowak Dariusz" userId="9e578734-b158-4481-befb-868697234f29" providerId="ADAL" clId="{0BF3D16E-93AA-4799-9CCE-DFF64080CEFA}" dt="2023-02-20T09:02:00.577" v="143" actId="1076"/>
          <ac:cxnSpMkLst>
            <pc:docMk/>
            <pc:sldMk cId="2078524455" sldId="547"/>
            <ac:cxnSpMk id="9" creationId="{C3020995-1BA8-8526-3147-D0C0646BEDBF}"/>
          </ac:cxnSpMkLst>
        </pc:cxnChg>
        <pc:cxnChg chg="mod">
          <ac:chgData name="Nowak Dariusz" userId="9e578734-b158-4481-befb-868697234f29" providerId="ADAL" clId="{0BF3D16E-93AA-4799-9CCE-DFF64080CEFA}" dt="2023-02-20T09:02:00.577" v="143" actId="1076"/>
          <ac:cxnSpMkLst>
            <pc:docMk/>
            <pc:sldMk cId="2078524455" sldId="547"/>
            <ac:cxnSpMk id="11" creationId="{4980300F-8B3A-47C1-9B2E-C1E7B16A3924}"/>
          </ac:cxnSpMkLst>
        </pc:cxnChg>
        <pc:cxnChg chg="mod">
          <ac:chgData name="Nowak Dariusz" userId="9e578734-b158-4481-befb-868697234f29" providerId="ADAL" clId="{0BF3D16E-93AA-4799-9CCE-DFF64080CEFA}" dt="2023-02-20T09:02:00.577" v="143" actId="1076"/>
          <ac:cxnSpMkLst>
            <pc:docMk/>
            <pc:sldMk cId="2078524455" sldId="547"/>
            <ac:cxnSpMk id="14" creationId="{3E1EEE52-4FE7-91B9-D5B4-54289A472655}"/>
          </ac:cxnSpMkLst>
        </pc:cxnChg>
        <pc:cxnChg chg="mod">
          <ac:chgData name="Nowak Dariusz" userId="9e578734-b158-4481-befb-868697234f29" providerId="ADAL" clId="{0BF3D16E-93AA-4799-9CCE-DFF64080CEFA}" dt="2023-02-20T09:02:12.421" v="145" actId="14100"/>
          <ac:cxnSpMkLst>
            <pc:docMk/>
            <pc:sldMk cId="2078524455" sldId="547"/>
            <ac:cxnSpMk id="15" creationId="{D5A2FA13-0A6C-234E-E1A1-9A7112D755DE}"/>
          </ac:cxnSpMkLst>
        </pc:cxnChg>
        <pc:cxnChg chg="mod">
          <ac:chgData name="Nowak Dariusz" userId="9e578734-b158-4481-befb-868697234f29" providerId="ADAL" clId="{0BF3D16E-93AA-4799-9CCE-DFF64080CEFA}" dt="2023-02-20T09:02:00.577" v="143" actId="1076"/>
          <ac:cxnSpMkLst>
            <pc:docMk/>
            <pc:sldMk cId="2078524455" sldId="547"/>
            <ac:cxnSpMk id="18" creationId="{55DCDABA-3776-F43E-A541-C8CA53F7C457}"/>
          </ac:cxnSpMkLst>
        </pc:cxnChg>
      </pc:sldChg>
      <pc:sldChg chg="modSp">
        <pc:chgData name="Nowak Dariusz" userId="9e578734-b158-4481-befb-868697234f29" providerId="ADAL" clId="{0BF3D16E-93AA-4799-9CCE-DFF64080CEFA}" dt="2023-02-20T08:55:02.494" v="95"/>
        <pc:sldMkLst>
          <pc:docMk/>
          <pc:sldMk cId="1045706865" sldId="550"/>
        </pc:sldMkLst>
        <pc:spChg chg="mod">
          <ac:chgData name="Nowak Dariusz" userId="9e578734-b158-4481-befb-868697234f29" providerId="ADAL" clId="{0BF3D16E-93AA-4799-9CCE-DFF64080CEFA}" dt="2023-02-20T08:55:02.494" v="95"/>
          <ac:spMkLst>
            <pc:docMk/>
            <pc:sldMk cId="1045706865" sldId="550"/>
            <ac:spMk id="61" creationId="{00000000-0000-0000-0000-000000000000}"/>
          </ac:spMkLst>
        </pc:spChg>
        <pc:picChg chg="mod">
          <ac:chgData name="Nowak Dariusz" userId="9e578734-b158-4481-befb-868697234f29" providerId="ADAL" clId="{0BF3D16E-93AA-4799-9CCE-DFF64080CEFA}" dt="2023-02-20T08:55:02.494" v="95"/>
          <ac:picMkLst>
            <pc:docMk/>
            <pc:sldMk cId="1045706865" sldId="550"/>
            <ac:picMk id="64" creationId="{00000000-0000-0000-0000-000000000000}"/>
          </ac:picMkLst>
        </pc:picChg>
      </pc:sldChg>
      <pc:sldChg chg="modSp">
        <pc:chgData name="Nowak Dariusz" userId="9e578734-b158-4481-befb-868697234f29" providerId="ADAL" clId="{0BF3D16E-93AA-4799-9CCE-DFF64080CEFA}" dt="2023-02-20T08:55:02.494" v="95"/>
        <pc:sldMkLst>
          <pc:docMk/>
          <pc:sldMk cId="2604381336" sldId="551"/>
        </pc:sldMkLst>
        <pc:spChg chg="mod">
          <ac:chgData name="Nowak Dariusz" userId="9e578734-b158-4481-befb-868697234f29" providerId="ADAL" clId="{0BF3D16E-93AA-4799-9CCE-DFF64080CEFA}" dt="2023-02-20T08:55:02.494" v="95"/>
          <ac:spMkLst>
            <pc:docMk/>
            <pc:sldMk cId="2604381336" sldId="551"/>
            <ac:spMk id="50" creationId="{00000000-0000-0000-0000-000000000000}"/>
          </ac:spMkLst>
        </pc:spChg>
      </pc:sldChg>
      <pc:sldChg chg="modSp">
        <pc:chgData name="Nowak Dariusz" userId="9e578734-b158-4481-befb-868697234f29" providerId="ADAL" clId="{0BF3D16E-93AA-4799-9CCE-DFF64080CEFA}" dt="2023-02-20T08:55:02.494" v="95"/>
        <pc:sldMkLst>
          <pc:docMk/>
          <pc:sldMk cId="1622436206" sldId="553"/>
        </pc:sldMkLst>
        <pc:spChg chg="mod">
          <ac:chgData name="Nowak Dariusz" userId="9e578734-b158-4481-befb-868697234f29" providerId="ADAL" clId="{0BF3D16E-93AA-4799-9CCE-DFF64080CEFA}" dt="2023-02-20T08:55:02.494" v="95"/>
          <ac:spMkLst>
            <pc:docMk/>
            <pc:sldMk cId="1622436206" sldId="553"/>
            <ac:spMk id="2" creationId="{EA10641B-75B7-4346-88BE-3556F7AF86F3}"/>
          </ac:spMkLst>
        </pc:spChg>
      </pc:sldChg>
      <pc:sldChg chg="modSp mod">
        <pc:chgData name="Nowak Dariusz" userId="9e578734-b158-4481-befb-868697234f29" providerId="ADAL" clId="{0BF3D16E-93AA-4799-9CCE-DFF64080CEFA}" dt="2023-02-20T09:03:51.929" v="192" actId="1076"/>
        <pc:sldMkLst>
          <pc:docMk/>
          <pc:sldMk cId="3422162950" sldId="554"/>
        </pc:sldMkLst>
        <pc:spChg chg="mod">
          <ac:chgData name="Nowak Dariusz" userId="9e578734-b158-4481-befb-868697234f29" providerId="ADAL" clId="{0BF3D16E-93AA-4799-9CCE-DFF64080CEFA}" dt="2023-02-20T08:55:02.494" v="95"/>
          <ac:spMkLst>
            <pc:docMk/>
            <pc:sldMk cId="3422162950" sldId="554"/>
            <ac:spMk id="42" creationId="{00000000-0000-0000-0000-000000000000}"/>
          </ac:spMkLst>
        </pc:spChg>
        <pc:picChg chg="mod">
          <ac:chgData name="Nowak Dariusz" userId="9e578734-b158-4481-befb-868697234f29" providerId="ADAL" clId="{0BF3D16E-93AA-4799-9CCE-DFF64080CEFA}" dt="2023-02-20T09:03:51.929" v="192" actId="1076"/>
          <ac:picMkLst>
            <pc:docMk/>
            <pc:sldMk cId="3422162950" sldId="554"/>
            <ac:picMk id="4" creationId="{0484DC8D-D17D-45B1-ABBB-6BD5B0A2B1B9}"/>
          </ac:picMkLst>
        </pc:picChg>
      </pc:sldChg>
      <pc:sldChg chg="modSp">
        <pc:chgData name="Nowak Dariusz" userId="9e578734-b158-4481-befb-868697234f29" providerId="ADAL" clId="{0BF3D16E-93AA-4799-9CCE-DFF64080CEFA}" dt="2023-02-20T08:55:02.494" v="95"/>
        <pc:sldMkLst>
          <pc:docMk/>
          <pc:sldMk cId="1476855616" sldId="557"/>
        </pc:sldMkLst>
        <pc:spChg chg="mod">
          <ac:chgData name="Nowak Dariusz" userId="9e578734-b158-4481-befb-868697234f29" providerId="ADAL" clId="{0BF3D16E-93AA-4799-9CCE-DFF64080CEFA}" dt="2023-02-20T08:55:02.494" v="95"/>
          <ac:spMkLst>
            <pc:docMk/>
            <pc:sldMk cId="1476855616" sldId="557"/>
            <ac:spMk id="57" creationId="{00000000-0000-0000-0000-000000000000}"/>
          </ac:spMkLst>
        </pc:spChg>
      </pc:sldChg>
      <pc:sldChg chg="modSp mod">
        <pc:chgData name="Nowak Dariusz" userId="9e578734-b158-4481-befb-868697234f29" providerId="ADAL" clId="{0BF3D16E-93AA-4799-9CCE-DFF64080CEFA}" dt="2023-02-20T09:03:34.204" v="190" actId="1037"/>
        <pc:sldMkLst>
          <pc:docMk/>
          <pc:sldMk cId="4280238782" sldId="559"/>
        </pc:sldMkLst>
        <pc:spChg chg="mod">
          <ac:chgData name="Nowak Dariusz" userId="9e578734-b158-4481-befb-868697234f29" providerId="ADAL" clId="{0BF3D16E-93AA-4799-9CCE-DFF64080CEFA}" dt="2023-02-20T08:55:02.494" v="95"/>
          <ac:spMkLst>
            <pc:docMk/>
            <pc:sldMk cId="4280238782" sldId="559"/>
            <ac:spMk id="38" creationId="{00000000-0000-0000-0000-000000000000}"/>
          </ac:spMkLst>
        </pc:spChg>
        <pc:picChg chg="mod">
          <ac:chgData name="Nowak Dariusz" userId="9e578734-b158-4481-befb-868697234f29" providerId="ADAL" clId="{0BF3D16E-93AA-4799-9CCE-DFF64080CEFA}" dt="2023-02-20T09:03:34.204" v="190" actId="1037"/>
          <ac:picMkLst>
            <pc:docMk/>
            <pc:sldMk cId="4280238782" sldId="559"/>
            <ac:picMk id="6" creationId="{1339D186-3611-2E2C-070C-E4EE9756EAD7}"/>
          </ac:picMkLst>
        </pc:picChg>
      </pc:sldChg>
      <pc:sldChg chg="modSp mod">
        <pc:chgData name="Nowak Dariusz" userId="9e578734-b158-4481-befb-868697234f29" providerId="ADAL" clId="{0BF3D16E-93AA-4799-9CCE-DFF64080CEFA}" dt="2023-02-20T09:03:24.404" v="180" actId="14100"/>
        <pc:sldMkLst>
          <pc:docMk/>
          <pc:sldMk cId="19349220" sldId="560"/>
        </pc:sldMkLst>
        <pc:spChg chg="mod">
          <ac:chgData name="Nowak Dariusz" userId="9e578734-b158-4481-befb-868697234f29" providerId="ADAL" clId="{0BF3D16E-93AA-4799-9CCE-DFF64080CEFA}" dt="2023-02-20T09:03:16.669" v="179" actId="14100"/>
          <ac:spMkLst>
            <pc:docMk/>
            <pc:sldMk cId="19349220" sldId="560"/>
            <ac:spMk id="2" creationId="{D32FD927-0D75-B8EE-750B-AFC9CEE549FF}"/>
          </ac:spMkLst>
        </pc:spChg>
        <pc:picChg chg="mod">
          <ac:chgData name="Nowak Dariusz" userId="9e578734-b158-4481-befb-868697234f29" providerId="ADAL" clId="{0BF3D16E-93AA-4799-9CCE-DFF64080CEFA}" dt="2023-02-20T09:03:24.404" v="180" actId="14100"/>
          <ac:picMkLst>
            <pc:docMk/>
            <pc:sldMk cId="19349220" sldId="560"/>
            <ac:picMk id="38" creationId="{00000000-0000-0000-0000-000000000000}"/>
          </ac:picMkLst>
        </pc:picChg>
      </pc:sldChg>
      <pc:sldChg chg="modSp mod setBg">
        <pc:chgData name="Nowak Dariusz" userId="9e578734-b158-4481-befb-868697234f29" providerId="ADAL" clId="{0BF3D16E-93AA-4799-9CCE-DFF64080CEFA}" dt="2023-02-20T08:59:36.111" v="129" actId="14100"/>
        <pc:sldMkLst>
          <pc:docMk/>
          <pc:sldMk cId="0" sldId="561"/>
        </pc:sldMkLst>
        <pc:spChg chg="mod">
          <ac:chgData name="Nowak Dariusz" userId="9e578734-b158-4481-befb-868697234f29" providerId="ADAL" clId="{0BF3D16E-93AA-4799-9CCE-DFF64080CEFA}" dt="2023-02-20T08:59:36.111" v="129" actId="14100"/>
          <ac:spMkLst>
            <pc:docMk/>
            <pc:sldMk cId="0" sldId="561"/>
            <ac:spMk id="2" creationId="{82E404CB-4913-0C7F-12EC-D47A17CDA3FE}"/>
          </ac:spMkLst>
        </pc:spChg>
        <pc:spChg chg="mod">
          <ac:chgData name="Nowak Dariusz" userId="9e578734-b158-4481-befb-868697234f29" providerId="ADAL" clId="{0BF3D16E-93AA-4799-9CCE-DFF64080CEFA}" dt="2023-02-20T08:55:02.494" v="95"/>
          <ac:spMkLst>
            <pc:docMk/>
            <pc:sldMk cId="0" sldId="561"/>
            <ac:spMk id="4" creationId="{00000000-0000-0000-0000-000000000000}"/>
          </ac:spMkLst>
        </pc:spChg>
        <pc:picChg chg="mod">
          <ac:chgData name="Nowak Dariusz" userId="9e578734-b158-4481-befb-868697234f29" providerId="ADAL" clId="{0BF3D16E-93AA-4799-9CCE-DFF64080CEFA}" dt="2023-02-20T08:55:02.494" v="95"/>
          <ac:picMkLst>
            <pc:docMk/>
            <pc:sldMk cId="0" sldId="561"/>
            <ac:picMk id="10" creationId="{422C0C24-681F-49D0-8069-877E14627506}"/>
          </ac:picMkLst>
        </pc:picChg>
      </pc:sldChg>
      <pc:sldChg chg="modSp">
        <pc:chgData name="Nowak Dariusz" userId="9e578734-b158-4481-befb-868697234f29" providerId="ADAL" clId="{0BF3D16E-93AA-4799-9CCE-DFF64080CEFA}" dt="2023-02-20T08:55:02.494" v="95"/>
        <pc:sldMkLst>
          <pc:docMk/>
          <pc:sldMk cId="2604381336" sldId="564"/>
        </pc:sldMkLst>
        <pc:spChg chg="mod">
          <ac:chgData name="Nowak Dariusz" userId="9e578734-b158-4481-befb-868697234f29" providerId="ADAL" clId="{0BF3D16E-93AA-4799-9CCE-DFF64080CEFA}" dt="2023-02-20T08:55:02.494" v="95"/>
          <ac:spMkLst>
            <pc:docMk/>
            <pc:sldMk cId="2604381336" sldId="564"/>
            <ac:spMk id="50" creationId="{00000000-0000-0000-0000-000000000000}"/>
          </ac:spMkLst>
        </pc:spChg>
      </pc:sldChg>
      <pc:sldChg chg="modSp mod">
        <pc:chgData name="Nowak Dariusz" userId="9e578734-b158-4481-befb-868697234f29" providerId="ADAL" clId="{0BF3D16E-93AA-4799-9CCE-DFF64080CEFA}" dt="2023-02-20T08:59:46.772" v="130" actId="1076"/>
        <pc:sldMkLst>
          <pc:docMk/>
          <pc:sldMk cId="0" sldId="565"/>
        </pc:sldMkLst>
        <pc:spChg chg="mod">
          <ac:chgData name="Nowak Dariusz" userId="9e578734-b158-4481-befb-868697234f29" providerId="ADAL" clId="{0BF3D16E-93AA-4799-9CCE-DFF64080CEFA}" dt="2023-02-20T08:59:46.772" v="130" actId="1076"/>
          <ac:spMkLst>
            <pc:docMk/>
            <pc:sldMk cId="0" sldId="565"/>
            <ac:spMk id="7" creationId="{00000000-0000-0000-0000-000000000000}"/>
          </ac:spMkLst>
        </pc:spChg>
      </pc:sldChg>
      <pc:sldChg chg="modSp mod">
        <pc:chgData name="Nowak Dariusz" userId="9e578734-b158-4481-befb-868697234f29" providerId="ADAL" clId="{0BF3D16E-93AA-4799-9CCE-DFF64080CEFA}" dt="2023-02-20T09:03:39.676" v="191" actId="14100"/>
        <pc:sldMkLst>
          <pc:docMk/>
          <pc:sldMk cId="1395386405" sldId="568"/>
        </pc:sldMkLst>
        <pc:spChg chg="mod">
          <ac:chgData name="Nowak Dariusz" userId="9e578734-b158-4481-befb-868697234f29" providerId="ADAL" clId="{0BF3D16E-93AA-4799-9CCE-DFF64080CEFA}" dt="2023-02-20T08:55:02.494" v="95"/>
          <ac:spMkLst>
            <pc:docMk/>
            <pc:sldMk cId="1395386405" sldId="568"/>
            <ac:spMk id="2" creationId="{EA10641B-75B7-4346-88BE-3556F7AF86F3}"/>
          </ac:spMkLst>
        </pc:spChg>
        <pc:picChg chg="mod">
          <ac:chgData name="Nowak Dariusz" userId="9e578734-b158-4481-befb-868697234f29" providerId="ADAL" clId="{0BF3D16E-93AA-4799-9CCE-DFF64080CEFA}" dt="2023-02-20T09:03:39.676" v="191" actId="14100"/>
          <ac:picMkLst>
            <pc:docMk/>
            <pc:sldMk cId="1395386405" sldId="568"/>
            <ac:picMk id="10" creationId="{8095D9E3-61B6-87C8-E170-04977311FED0}"/>
          </ac:picMkLst>
        </pc:picChg>
      </pc:sldChg>
      <pc:sldChg chg="modSp mod">
        <pc:chgData name="Nowak Dariusz" userId="9e578734-b158-4481-befb-868697234f29" providerId="ADAL" clId="{0BF3D16E-93AA-4799-9CCE-DFF64080CEFA}" dt="2023-02-20T09:05:32.258" v="228" actId="1076"/>
        <pc:sldMkLst>
          <pc:docMk/>
          <pc:sldMk cId="0" sldId="569"/>
        </pc:sldMkLst>
        <pc:spChg chg="mod">
          <ac:chgData name="Nowak Dariusz" userId="9e578734-b158-4481-befb-868697234f29" providerId="ADAL" clId="{0BF3D16E-93AA-4799-9CCE-DFF64080CEFA}" dt="2023-02-20T09:05:32.258" v="228" actId="1076"/>
          <ac:spMkLst>
            <pc:docMk/>
            <pc:sldMk cId="0" sldId="569"/>
            <ac:spMk id="5" creationId="{71AA3144-3754-406F-A227-6A726A1EF061}"/>
          </ac:spMkLst>
        </pc:spChg>
        <pc:spChg chg="mod">
          <ac:chgData name="Nowak Dariusz" userId="9e578734-b158-4481-befb-868697234f29" providerId="ADAL" clId="{0BF3D16E-93AA-4799-9CCE-DFF64080CEFA}" dt="2023-02-20T09:05:32.258" v="228" actId="1076"/>
          <ac:spMkLst>
            <pc:docMk/>
            <pc:sldMk cId="0" sldId="569"/>
            <ac:spMk id="6" creationId="{71AA3144-3754-406F-A227-6A726A1EF061}"/>
          </ac:spMkLst>
        </pc:spChg>
        <pc:spChg chg="mod">
          <ac:chgData name="Nowak Dariusz" userId="9e578734-b158-4481-befb-868697234f29" providerId="ADAL" clId="{0BF3D16E-93AA-4799-9CCE-DFF64080CEFA}" dt="2023-02-20T09:05:32.258" v="228" actId="1076"/>
          <ac:spMkLst>
            <pc:docMk/>
            <pc:sldMk cId="0" sldId="569"/>
            <ac:spMk id="7" creationId="{71AA3144-3754-406F-A227-6A726A1EF061}"/>
          </ac:spMkLst>
        </pc:spChg>
        <pc:spChg chg="mod">
          <ac:chgData name="Nowak Dariusz" userId="9e578734-b158-4481-befb-868697234f29" providerId="ADAL" clId="{0BF3D16E-93AA-4799-9CCE-DFF64080CEFA}" dt="2023-02-20T09:05:32.258" v="228" actId="1076"/>
          <ac:spMkLst>
            <pc:docMk/>
            <pc:sldMk cId="0" sldId="569"/>
            <ac:spMk id="8" creationId="{71AA3144-3754-406F-A227-6A726A1EF061}"/>
          </ac:spMkLst>
        </pc:spChg>
        <pc:spChg chg="mod">
          <ac:chgData name="Nowak Dariusz" userId="9e578734-b158-4481-befb-868697234f29" providerId="ADAL" clId="{0BF3D16E-93AA-4799-9CCE-DFF64080CEFA}" dt="2023-02-20T09:05:32.258" v="228" actId="1076"/>
          <ac:spMkLst>
            <pc:docMk/>
            <pc:sldMk cId="0" sldId="569"/>
            <ac:spMk id="10" creationId="{71AA3144-3754-406F-A227-6A726A1EF061}"/>
          </ac:spMkLst>
        </pc:spChg>
        <pc:spChg chg="mod">
          <ac:chgData name="Nowak Dariusz" userId="9e578734-b158-4481-befb-868697234f29" providerId="ADAL" clId="{0BF3D16E-93AA-4799-9CCE-DFF64080CEFA}" dt="2023-02-20T09:05:32.258" v="228" actId="1076"/>
          <ac:spMkLst>
            <pc:docMk/>
            <pc:sldMk cId="0" sldId="569"/>
            <ac:spMk id="13" creationId="{00000000-0000-0000-0000-000000000000}"/>
          </ac:spMkLst>
        </pc:spChg>
        <pc:spChg chg="mod">
          <ac:chgData name="Nowak Dariusz" userId="9e578734-b158-4481-befb-868697234f29" providerId="ADAL" clId="{0BF3D16E-93AA-4799-9CCE-DFF64080CEFA}" dt="2023-02-20T09:05:32.258" v="228" actId="1076"/>
          <ac:spMkLst>
            <pc:docMk/>
            <pc:sldMk cId="0" sldId="569"/>
            <ac:spMk id="14" creationId="{00000000-0000-0000-0000-000000000000}"/>
          </ac:spMkLst>
        </pc:spChg>
        <pc:spChg chg="mod">
          <ac:chgData name="Nowak Dariusz" userId="9e578734-b158-4481-befb-868697234f29" providerId="ADAL" clId="{0BF3D16E-93AA-4799-9CCE-DFF64080CEFA}" dt="2023-02-20T09:05:32.258" v="228" actId="1076"/>
          <ac:spMkLst>
            <pc:docMk/>
            <pc:sldMk cId="0" sldId="569"/>
            <ac:spMk id="15" creationId="{00000000-0000-0000-0000-000000000000}"/>
          </ac:spMkLst>
        </pc:spChg>
        <pc:spChg chg="mod">
          <ac:chgData name="Nowak Dariusz" userId="9e578734-b158-4481-befb-868697234f29" providerId="ADAL" clId="{0BF3D16E-93AA-4799-9CCE-DFF64080CEFA}" dt="2023-02-20T09:05:17.296" v="226" actId="1076"/>
          <ac:spMkLst>
            <pc:docMk/>
            <pc:sldMk cId="0" sldId="569"/>
            <ac:spMk id="17" creationId="{0654C8C2-6383-0529-D089-40493CF41E1C}"/>
          </ac:spMkLst>
        </pc:spChg>
        <pc:spChg chg="mod">
          <ac:chgData name="Nowak Dariusz" userId="9e578734-b158-4481-befb-868697234f29" providerId="ADAL" clId="{0BF3D16E-93AA-4799-9CCE-DFF64080CEFA}" dt="2023-02-20T09:05:17.296" v="226" actId="1076"/>
          <ac:spMkLst>
            <pc:docMk/>
            <pc:sldMk cId="0" sldId="569"/>
            <ac:spMk id="18" creationId="{723FBCE9-1529-31C2-6F27-EF3DEF29848E}"/>
          </ac:spMkLst>
        </pc:spChg>
        <pc:spChg chg="mod">
          <ac:chgData name="Nowak Dariusz" userId="9e578734-b158-4481-befb-868697234f29" providerId="ADAL" clId="{0BF3D16E-93AA-4799-9CCE-DFF64080CEFA}" dt="2023-02-20T09:05:32.258" v="228" actId="1076"/>
          <ac:spMkLst>
            <pc:docMk/>
            <pc:sldMk cId="0" sldId="569"/>
            <ac:spMk id="19" creationId="{00000000-0000-0000-0000-000000000000}"/>
          </ac:spMkLst>
        </pc:spChg>
        <pc:spChg chg="mod">
          <ac:chgData name="Nowak Dariusz" userId="9e578734-b158-4481-befb-868697234f29" providerId="ADAL" clId="{0BF3D16E-93AA-4799-9CCE-DFF64080CEFA}" dt="2023-02-20T09:05:32.258" v="228" actId="1076"/>
          <ac:spMkLst>
            <pc:docMk/>
            <pc:sldMk cId="0" sldId="569"/>
            <ac:spMk id="20" creationId="{00000000-0000-0000-0000-000000000000}"/>
          </ac:spMkLst>
        </pc:spChg>
        <pc:spChg chg="mod">
          <ac:chgData name="Nowak Dariusz" userId="9e578734-b158-4481-befb-868697234f29" providerId="ADAL" clId="{0BF3D16E-93AA-4799-9CCE-DFF64080CEFA}" dt="2023-02-20T09:05:32.258" v="228" actId="1076"/>
          <ac:spMkLst>
            <pc:docMk/>
            <pc:sldMk cId="0" sldId="569"/>
            <ac:spMk id="21" creationId="{00000000-0000-0000-0000-000000000000}"/>
          </ac:spMkLst>
        </pc:spChg>
        <pc:spChg chg="mod">
          <ac:chgData name="Nowak Dariusz" userId="9e578734-b158-4481-befb-868697234f29" providerId="ADAL" clId="{0BF3D16E-93AA-4799-9CCE-DFF64080CEFA}" dt="2023-02-20T09:05:17.296" v="226" actId="1076"/>
          <ac:spMkLst>
            <pc:docMk/>
            <pc:sldMk cId="0" sldId="569"/>
            <ac:spMk id="22" creationId="{FD76A2A6-2652-694D-3793-83DEF036ED59}"/>
          </ac:spMkLst>
        </pc:spChg>
        <pc:spChg chg="mod">
          <ac:chgData name="Nowak Dariusz" userId="9e578734-b158-4481-befb-868697234f29" providerId="ADAL" clId="{0BF3D16E-93AA-4799-9CCE-DFF64080CEFA}" dt="2023-02-20T09:04:45.420" v="222" actId="1035"/>
          <ac:spMkLst>
            <pc:docMk/>
            <pc:sldMk cId="0" sldId="569"/>
            <ac:spMk id="23" creationId="{9E372B2D-BDFE-C217-D52B-93CDEF17F355}"/>
          </ac:spMkLst>
        </pc:spChg>
        <pc:spChg chg="mod">
          <ac:chgData name="Nowak Dariusz" userId="9e578734-b158-4481-befb-868697234f29" providerId="ADAL" clId="{0BF3D16E-93AA-4799-9CCE-DFF64080CEFA}" dt="2023-02-20T09:05:32.258" v="228" actId="1076"/>
          <ac:spMkLst>
            <pc:docMk/>
            <pc:sldMk cId="0" sldId="569"/>
            <ac:spMk id="25" creationId="{00000000-0000-0000-0000-000000000000}"/>
          </ac:spMkLst>
        </pc:spChg>
        <pc:spChg chg="mod">
          <ac:chgData name="Nowak Dariusz" userId="9e578734-b158-4481-befb-868697234f29" providerId="ADAL" clId="{0BF3D16E-93AA-4799-9CCE-DFF64080CEFA}" dt="2023-02-20T09:04:45.420" v="222" actId="1035"/>
          <ac:spMkLst>
            <pc:docMk/>
            <pc:sldMk cId="0" sldId="569"/>
            <ac:spMk id="26" creationId="{FDE4A8BF-6A11-60E0-3627-20D664DB50CD}"/>
          </ac:spMkLst>
        </pc:spChg>
        <pc:spChg chg="mod">
          <ac:chgData name="Nowak Dariusz" userId="9e578734-b158-4481-befb-868697234f29" providerId="ADAL" clId="{0BF3D16E-93AA-4799-9CCE-DFF64080CEFA}" dt="2023-02-20T09:04:45.420" v="222" actId="1035"/>
          <ac:spMkLst>
            <pc:docMk/>
            <pc:sldMk cId="0" sldId="569"/>
            <ac:spMk id="27" creationId="{48E4E604-6A03-A731-1BEF-0552F09392BB}"/>
          </ac:spMkLst>
        </pc:spChg>
        <pc:spChg chg="mod">
          <ac:chgData name="Nowak Dariusz" userId="9e578734-b158-4481-befb-868697234f29" providerId="ADAL" clId="{0BF3D16E-93AA-4799-9CCE-DFF64080CEFA}" dt="2023-02-20T09:04:45.420" v="222" actId="1035"/>
          <ac:spMkLst>
            <pc:docMk/>
            <pc:sldMk cId="0" sldId="569"/>
            <ac:spMk id="28" creationId="{01561198-2F21-A62C-5459-76D87FDDF756}"/>
          </ac:spMkLst>
        </pc:spChg>
        <pc:spChg chg="mod">
          <ac:chgData name="Nowak Dariusz" userId="9e578734-b158-4481-befb-868697234f29" providerId="ADAL" clId="{0BF3D16E-93AA-4799-9CCE-DFF64080CEFA}" dt="2023-02-20T09:04:45.420" v="222" actId="1035"/>
          <ac:spMkLst>
            <pc:docMk/>
            <pc:sldMk cId="0" sldId="569"/>
            <ac:spMk id="29" creationId="{9C5ACD35-0F9C-7AB9-6168-55EAE4D37869}"/>
          </ac:spMkLst>
        </pc:spChg>
        <pc:spChg chg="mod">
          <ac:chgData name="Nowak Dariusz" userId="9e578734-b158-4481-befb-868697234f29" providerId="ADAL" clId="{0BF3D16E-93AA-4799-9CCE-DFF64080CEFA}" dt="2023-02-20T09:04:45.420" v="222" actId="1035"/>
          <ac:spMkLst>
            <pc:docMk/>
            <pc:sldMk cId="0" sldId="569"/>
            <ac:spMk id="30" creationId="{D584AC91-49BB-9A1B-EFC4-8F3CF4BA3033}"/>
          </ac:spMkLst>
        </pc:spChg>
        <pc:spChg chg="mod">
          <ac:chgData name="Nowak Dariusz" userId="9e578734-b158-4481-befb-868697234f29" providerId="ADAL" clId="{0BF3D16E-93AA-4799-9CCE-DFF64080CEFA}" dt="2023-02-20T09:05:32.258" v="228" actId="1076"/>
          <ac:spMkLst>
            <pc:docMk/>
            <pc:sldMk cId="0" sldId="569"/>
            <ac:spMk id="33" creationId="{00000000-0000-0000-0000-000000000000}"/>
          </ac:spMkLst>
        </pc:spChg>
        <pc:grpChg chg="mod">
          <ac:chgData name="Nowak Dariusz" userId="9e578734-b158-4481-befb-868697234f29" providerId="ADAL" clId="{0BF3D16E-93AA-4799-9CCE-DFF64080CEFA}" dt="2023-02-20T09:05:32.258" v="228" actId="1076"/>
          <ac:grpSpMkLst>
            <pc:docMk/>
            <pc:sldMk cId="0" sldId="569"/>
            <ac:grpSpMk id="2" creationId="{00000000-0000-0000-0000-000000000000}"/>
          </ac:grpSpMkLst>
        </pc:grpChg>
        <pc:grpChg chg="mod">
          <ac:chgData name="Nowak Dariusz" userId="9e578734-b158-4481-befb-868697234f29" providerId="ADAL" clId="{0BF3D16E-93AA-4799-9CCE-DFF64080CEFA}" dt="2023-02-20T09:05:32.258" v="228" actId="1076"/>
          <ac:grpSpMkLst>
            <pc:docMk/>
            <pc:sldMk cId="0" sldId="569"/>
            <ac:grpSpMk id="3" creationId="{00000000-0000-0000-0000-000000000000}"/>
          </ac:grpSpMkLst>
        </pc:grpChg>
        <pc:grpChg chg="mod">
          <ac:chgData name="Nowak Dariusz" userId="9e578734-b158-4481-befb-868697234f29" providerId="ADAL" clId="{0BF3D16E-93AA-4799-9CCE-DFF64080CEFA}" dt="2023-02-20T09:05:32.258" v="228" actId="1076"/>
          <ac:grpSpMkLst>
            <pc:docMk/>
            <pc:sldMk cId="0" sldId="569"/>
            <ac:grpSpMk id="24" creationId="{00000000-0000-0000-0000-000000000000}"/>
          </ac:grpSpMkLst>
        </pc:grpChg>
        <pc:picChg chg="mod">
          <ac:chgData name="Nowak Dariusz" userId="9e578734-b158-4481-befb-868697234f29" providerId="ADAL" clId="{0BF3D16E-93AA-4799-9CCE-DFF64080CEFA}" dt="2023-02-20T09:05:09.673" v="225" actId="1076"/>
          <ac:picMkLst>
            <pc:docMk/>
            <pc:sldMk cId="0" sldId="569"/>
            <ac:picMk id="4" creationId="{9A0F32CF-2C02-CF82-E055-96964A8768F4}"/>
          </ac:picMkLst>
        </pc:picChg>
      </pc:sldChg>
      <pc:sldChg chg="modSp mod">
        <pc:chgData name="Nowak Dariusz" userId="9e578734-b158-4481-befb-868697234f29" providerId="ADAL" clId="{0BF3D16E-93AA-4799-9CCE-DFF64080CEFA}" dt="2023-02-20T09:00:02.806" v="133" actId="6549"/>
        <pc:sldMkLst>
          <pc:docMk/>
          <pc:sldMk cId="829762209" sldId="582"/>
        </pc:sldMkLst>
        <pc:spChg chg="mod">
          <ac:chgData name="Nowak Dariusz" userId="9e578734-b158-4481-befb-868697234f29" providerId="ADAL" clId="{0BF3D16E-93AA-4799-9CCE-DFF64080CEFA}" dt="2023-02-20T08:59:59.819" v="132" actId="14100"/>
          <ac:spMkLst>
            <pc:docMk/>
            <pc:sldMk cId="829762209" sldId="582"/>
            <ac:spMk id="2" creationId="{82E404CB-4913-0C7F-12EC-D47A17CDA3FE}"/>
          </ac:spMkLst>
        </pc:spChg>
        <pc:spChg chg="mod">
          <ac:chgData name="Nowak Dariusz" userId="9e578734-b158-4481-befb-868697234f29" providerId="ADAL" clId="{0BF3D16E-93AA-4799-9CCE-DFF64080CEFA}" dt="2023-02-20T09:00:02.806" v="133" actId="6549"/>
          <ac:spMkLst>
            <pc:docMk/>
            <pc:sldMk cId="829762209" sldId="582"/>
            <ac:spMk id="21" creationId="{00000000-0000-0000-0000-000000000000}"/>
          </ac:spMkLst>
        </pc:spChg>
        <pc:picChg chg="mod">
          <ac:chgData name="Nowak Dariusz" userId="9e578734-b158-4481-befb-868697234f29" providerId="ADAL" clId="{0BF3D16E-93AA-4799-9CCE-DFF64080CEFA}" dt="2023-02-20T08:58:01.389" v="122" actId="14100"/>
          <ac:picMkLst>
            <pc:docMk/>
            <pc:sldMk cId="829762209" sldId="582"/>
            <ac:picMk id="8" creationId="{C27E432A-F888-6A63-6592-2856FDFFA670}"/>
          </ac:picMkLst>
        </pc:picChg>
      </pc:sldChg>
      <pc:sldChg chg="del">
        <pc:chgData name="Nowak Dariusz" userId="9e578734-b158-4481-befb-868697234f29" providerId="ADAL" clId="{0BF3D16E-93AA-4799-9CCE-DFF64080CEFA}" dt="2023-02-20T08:54:02.496" v="83" actId="47"/>
        <pc:sldMkLst>
          <pc:docMk/>
          <pc:sldMk cId="2669063295" sldId="585"/>
        </pc:sldMkLst>
      </pc:sldChg>
      <pc:sldChg chg="addSp delSp modSp add mod ord">
        <pc:chgData name="Nowak Dariusz" userId="9e578734-b158-4481-befb-868697234f29" providerId="ADAL" clId="{0BF3D16E-93AA-4799-9CCE-DFF64080CEFA}" dt="2023-02-20T08:57:52.501" v="121" actId="1076"/>
        <pc:sldMkLst>
          <pc:docMk/>
          <pc:sldMk cId="3953656298" sldId="2881"/>
        </pc:sldMkLst>
        <pc:spChg chg="mod">
          <ac:chgData name="Nowak Dariusz" userId="9e578734-b158-4481-befb-868697234f29" providerId="ADAL" clId="{0BF3D16E-93AA-4799-9CCE-DFF64080CEFA}" dt="2023-02-20T08:53:55.652" v="81" actId="207"/>
          <ac:spMkLst>
            <pc:docMk/>
            <pc:sldMk cId="3953656298" sldId="2881"/>
            <ac:spMk id="5" creationId="{4D9F8FBE-9C89-4233-8F57-E8A5AF553057}"/>
          </ac:spMkLst>
        </pc:spChg>
        <pc:spChg chg="add mod">
          <ac:chgData name="Nowak Dariusz" userId="9e578734-b158-4481-befb-868697234f29" providerId="ADAL" clId="{0BF3D16E-93AA-4799-9CCE-DFF64080CEFA}" dt="2023-02-20T08:57:52.501" v="121" actId="1076"/>
          <ac:spMkLst>
            <pc:docMk/>
            <pc:sldMk cId="3953656298" sldId="2881"/>
            <ac:spMk id="6" creationId="{A5D0F5F3-D11C-A5FE-0C01-E09FED5C7345}"/>
          </ac:spMkLst>
        </pc:spChg>
        <pc:picChg chg="del">
          <ac:chgData name="Nowak Dariusz" userId="9e578734-b158-4481-befb-868697234f29" providerId="ADAL" clId="{0BF3D16E-93AA-4799-9CCE-DFF64080CEFA}" dt="2023-02-20T08:53:21.302" v="4" actId="478"/>
          <ac:picMkLst>
            <pc:docMk/>
            <pc:sldMk cId="3953656298" sldId="2881"/>
            <ac:picMk id="2" creationId="{7C3622EA-546F-CC83-E14A-4ACADB9D6142}"/>
          </ac:picMkLst>
        </pc:picChg>
        <pc:picChg chg="del">
          <ac:chgData name="Nowak Dariusz" userId="9e578734-b158-4481-befb-868697234f29" providerId="ADAL" clId="{0BF3D16E-93AA-4799-9CCE-DFF64080CEFA}" dt="2023-02-20T08:53:22.362" v="5" actId="478"/>
          <ac:picMkLst>
            <pc:docMk/>
            <pc:sldMk cId="3953656298" sldId="2881"/>
            <ac:picMk id="3" creationId="{C756B4DC-879E-04C3-6227-0A30574F8FAF}"/>
          </ac:picMkLst>
        </pc:picChg>
      </pc:sldChg>
      <pc:sldChg chg="add del">
        <pc:chgData name="Nowak Dariusz" userId="9e578734-b158-4481-befb-868697234f29" providerId="ADAL" clId="{0BF3D16E-93AA-4799-9CCE-DFF64080CEFA}" dt="2023-02-20T08:54:28.292" v="89" actId="47"/>
        <pc:sldMkLst>
          <pc:docMk/>
          <pc:sldMk cId="1969324268" sldId="7977"/>
        </pc:sldMkLst>
      </pc:sldChg>
      <pc:sldMasterChg chg="delSldLayout">
        <pc:chgData name="Nowak Dariusz" userId="9e578734-b158-4481-befb-868697234f29" providerId="ADAL" clId="{0BF3D16E-93AA-4799-9CCE-DFF64080CEFA}" dt="2023-02-20T08:54:49.140" v="94" actId="2696"/>
        <pc:sldMasterMkLst>
          <pc:docMk/>
          <pc:sldMasterMk cId="2173270195" sldId="2147483661"/>
        </pc:sldMasterMkLst>
        <pc:sldLayoutChg chg="del">
          <pc:chgData name="Nowak Dariusz" userId="9e578734-b158-4481-befb-868697234f29" providerId="ADAL" clId="{0BF3D16E-93AA-4799-9CCE-DFF64080CEFA}" dt="2023-02-20T08:54:45.754" v="92" actId="2696"/>
          <pc:sldLayoutMkLst>
            <pc:docMk/>
            <pc:sldMasterMk cId="2173270195" sldId="2147483661"/>
            <pc:sldLayoutMk cId="382729892" sldId="2147483664"/>
          </pc:sldLayoutMkLst>
        </pc:sldLayoutChg>
        <pc:sldLayoutChg chg="del">
          <pc:chgData name="Nowak Dariusz" userId="9e578734-b158-4481-befb-868697234f29" providerId="ADAL" clId="{0BF3D16E-93AA-4799-9CCE-DFF64080CEFA}" dt="2023-02-20T08:54:49.140" v="94" actId="2696"/>
          <pc:sldLayoutMkLst>
            <pc:docMk/>
            <pc:sldMasterMk cId="2173270195" sldId="2147483661"/>
            <pc:sldLayoutMk cId="1013114917" sldId="2147483673"/>
          </pc:sldLayoutMkLst>
        </pc:sldLayoutChg>
        <pc:sldLayoutChg chg="del">
          <pc:chgData name="Nowak Dariusz" userId="9e578734-b158-4481-befb-868697234f29" providerId="ADAL" clId="{0BF3D16E-93AA-4799-9CCE-DFF64080CEFA}" dt="2023-02-20T08:54:46.929" v="93" actId="2696"/>
          <pc:sldLayoutMkLst>
            <pc:docMk/>
            <pc:sldMasterMk cId="2173270195" sldId="2147483661"/>
            <pc:sldLayoutMk cId="382729892" sldId="2147483675"/>
          </pc:sldLayoutMkLst>
        </pc:sldLayoutChg>
      </pc:sldMasterChg>
      <pc:sldMasterChg chg="delSldLayout">
        <pc:chgData name="Nowak Dariusz" userId="9e578734-b158-4481-befb-868697234f29" providerId="ADAL" clId="{0BF3D16E-93AA-4799-9CCE-DFF64080CEFA}" dt="2023-02-20T08:54:28.292" v="89" actId="47"/>
        <pc:sldMasterMkLst>
          <pc:docMk/>
          <pc:sldMasterMk cId="1286674571" sldId="2147483696"/>
        </pc:sldMasterMkLst>
        <pc:sldLayoutChg chg="del">
          <pc:chgData name="Nowak Dariusz" userId="9e578734-b158-4481-befb-868697234f29" providerId="ADAL" clId="{0BF3D16E-93AA-4799-9CCE-DFF64080CEFA}" dt="2023-02-20T08:54:28.292" v="89" actId="47"/>
          <pc:sldLayoutMkLst>
            <pc:docMk/>
            <pc:sldMasterMk cId="1286674571" sldId="2147483696"/>
            <pc:sldLayoutMk cId="867081991" sldId="2147483699"/>
          </pc:sldLayoutMkLst>
        </pc:sldLayoutChg>
      </pc:sldMasterChg>
      <pc:sldMasterChg chg="addSp delSp modSp delSldLayout modSldLayout">
        <pc:chgData name="Nowak Dariusz" userId="9e578734-b158-4481-befb-868697234f29" providerId="ADAL" clId="{0BF3D16E-93AA-4799-9CCE-DFF64080CEFA}" dt="2023-02-20T09:01:12.989" v="142" actId="1076"/>
        <pc:sldMasterMkLst>
          <pc:docMk/>
          <pc:sldMasterMk cId="2229949935" sldId="2147483699"/>
        </pc:sldMasterMkLst>
        <pc:picChg chg="add del mod">
          <ac:chgData name="Nowak Dariusz" userId="9e578734-b158-4481-befb-868697234f29" providerId="ADAL" clId="{0BF3D16E-93AA-4799-9CCE-DFF64080CEFA}" dt="2023-02-20T08:56:45.669" v="110" actId="478"/>
          <ac:picMkLst>
            <pc:docMk/>
            <pc:sldMasterMk cId="2229949935" sldId="2147483699"/>
            <ac:picMk id="5" creationId="{768335F2-E210-B12B-3CC9-FC24D0E04544}"/>
          </ac:picMkLst>
        </pc:picChg>
        <pc:picChg chg="mod">
          <ac:chgData name="Nowak Dariusz" userId="9e578734-b158-4481-befb-868697234f29" providerId="ADAL" clId="{0BF3D16E-93AA-4799-9CCE-DFF64080CEFA}" dt="2023-02-20T09:01:12.989" v="142" actId="1076"/>
          <ac:picMkLst>
            <pc:docMk/>
            <pc:sldMasterMk cId="2229949935" sldId="2147483699"/>
            <ac:picMk id="9" creationId="{81A14D33-0330-4DAD-82A8-B7131B40566B}"/>
          </ac:picMkLst>
        </pc:picChg>
        <pc:sldLayoutChg chg="del">
          <pc:chgData name="Nowak Dariusz" userId="9e578734-b158-4481-befb-868697234f29" providerId="ADAL" clId="{0BF3D16E-93AA-4799-9CCE-DFF64080CEFA}" dt="2023-02-20T08:56:58.118" v="112" actId="2696"/>
          <pc:sldLayoutMkLst>
            <pc:docMk/>
            <pc:sldMasterMk cId="2229949935" sldId="2147483699"/>
            <pc:sldLayoutMk cId="3788865669" sldId="2147483666"/>
          </pc:sldLayoutMkLst>
        </pc:sldLayoutChg>
        <pc:sldLayoutChg chg="del">
          <pc:chgData name="Nowak Dariusz" userId="9e578734-b158-4481-befb-868697234f29" providerId="ADAL" clId="{0BF3D16E-93AA-4799-9CCE-DFF64080CEFA}" dt="2023-02-20T08:56:56.059" v="111" actId="2696"/>
          <pc:sldLayoutMkLst>
            <pc:docMk/>
            <pc:sldMasterMk cId="2229949935" sldId="2147483699"/>
            <pc:sldLayoutMk cId="672741882" sldId="2147483672"/>
          </pc:sldLayoutMkLst>
        </pc:sldLayoutChg>
        <pc:sldLayoutChg chg="del">
          <pc:chgData name="Nowak Dariusz" userId="9e578734-b158-4481-befb-868697234f29" providerId="ADAL" clId="{0BF3D16E-93AA-4799-9CCE-DFF64080CEFA}" dt="2023-02-20T08:56:58.993" v="113" actId="2696"/>
          <pc:sldLayoutMkLst>
            <pc:docMk/>
            <pc:sldMasterMk cId="2229949935" sldId="2147483699"/>
            <pc:sldLayoutMk cId="2819560621" sldId="2147483676"/>
          </pc:sldLayoutMkLst>
        </pc:sldLayoutChg>
        <pc:sldLayoutChg chg="modSp del">
          <pc:chgData name="Nowak Dariusz" userId="9e578734-b158-4481-befb-868697234f29" providerId="ADAL" clId="{0BF3D16E-93AA-4799-9CCE-DFF64080CEFA}" dt="2023-02-20T09:01:07.048" v="141" actId="2696"/>
          <pc:sldLayoutMkLst>
            <pc:docMk/>
            <pc:sldMasterMk cId="2229949935" sldId="2147483699"/>
            <pc:sldLayoutMk cId="2664368170" sldId="2147483702"/>
          </pc:sldLayoutMkLst>
          <pc:picChg chg="mod">
            <ac:chgData name="Nowak Dariusz" userId="9e578734-b158-4481-befb-868697234f29" providerId="ADAL" clId="{0BF3D16E-93AA-4799-9CCE-DFF64080CEFA}" dt="2023-02-20T09:01:04.577" v="140" actId="1076"/>
            <ac:picMkLst>
              <pc:docMk/>
              <pc:sldMasterMk cId="2229949935" sldId="2147483699"/>
              <pc:sldLayoutMk cId="2664368170" sldId="2147483702"/>
              <ac:picMk id="4" creationId="{2FEFE29C-27C7-4CE6-AE80-E49B177CBD41}"/>
            </ac:picMkLst>
          </pc:picChg>
        </pc:sldLayoutChg>
        <pc:sldLayoutChg chg="del">
          <pc:chgData name="Nowak Dariusz" userId="9e578734-b158-4481-befb-868697234f29" providerId="ADAL" clId="{0BF3D16E-93AA-4799-9CCE-DFF64080CEFA}" dt="2023-02-20T09:00:43.049" v="136" actId="2696"/>
          <pc:sldLayoutMkLst>
            <pc:docMk/>
            <pc:sldMasterMk cId="2229949935" sldId="2147483699"/>
            <pc:sldLayoutMk cId="4206168531" sldId="2147483709"/>
          </pc:sldLayoutMkLst>
        </pc:sldLayoutChg>
        <pc:sldLayoutChg chg="modSp del">
          <pc:chgData name="Nowak Dariusz" userId="9e578734-b158-4481-befb-868697234f29" providerId="ADAL" clId="{0BF3D16E-93AA-4799-9CCE-DFF64080CEFA}" dt="2023-02-20T09:00:41.312" v="135" actId="2696"/>
          <pc:sldLayoutMkLst>
            <pc:docMk/>
            <pc:sldMasterMk cId="2229949935" sldId="2147483699"/>
            <pc:sldLayoutMk cId="1262828775" sldId="2147483710"/>
          </pc:sldLayoutMkLst>
          <pc:picChg chg="mod">
            <ac:chgData name="Nowak Dariusz" userId="9e578734-b158-4481-befb-868697234f29" providerId="ADAL" clId="{0BF3D16E-93AA-4799-9CCE-DFF64080CEFA}" dt="2023-02-20T09:00:37.329" v="134" actId="1076"/>
            <ac:picMkLst>
              <pc:docMk/>
              <pc:sldMasterMk cId="2229949935" sldId="2147483699"/>
              <pc:sldLayoutMk cId="1262828775" sldId="2147483710"/>
              <ac:picMk id="4" creationId="{9652E2C3-2498-46FA-9811-015E8CA41FAA}"/>
            </ac:picMkLst>
          </pc:picChg>
        </pc:sldLayoutChg>
        <pc:sldLayoutChg chg="del">
          <pc:chgData name="Nowak Dariusz" userId="9e578734-b158-4481-befb-868697234f29" providerId="ADAL" clId="{0BF3D16E-93AA-4799-9CCE-DFF64080CEFA}" dt="2023-02-20T09:00:44.717" v="137" actId="2696"/>
          <pc:sldLayoutMkLst>
            <pc:docMk/>
            <pc:sldMasterMk cId="2229949935" sldId="2147483699"/>
            <pc:sldLayoutMk cId="1859009743" sldId="2147483711"/>
          </pc:sldLayoutMkLst>
        </pc:sldLayoutChg>
        <pc:sldLayoutChg chg="del">
          <pc:chgData name="Nowak Dariusz" userId="9e578734-b158-4481-befb-868697234f29" providerId="ADAL" clId="{0BF3D16E-93AA-4799-9CCE-DFF64080CEFA}" dt="2023-02-20T09:00:46.256" v="138" actId="2696"/>
          <pc:sldLayoutMkLst>
            <pc:docMk/>
            <pc:sldMasterMk cId="2229949935" sldId="2147483699"/>
            <pc:sldLayoutMk cId="546151922" sldId="2147483712"/>
          </pc:sldLayoutMkLst>
        </pc:sldLayoutChg>
        <pc:sldLayoutChg chg="del">
          <pc:chgData name="Nowak Dariusz" userId="9e578734-b158-4481-befb-868697234f29" providerId="ADAL" clId="{0BF3D16E-93AA-4799-9CCE-DFF64080CEFA}" dt="2023-02-20T09:00:50.281" v="139" actId="2696"/>
          <pc:sldLayoutMkLst>
            <pc:docMk/>
            <pc:sldMasterMk cId="2229949935" sldId="2147483699"/>
            <pc:sldLayoutMk cId="717918361" sldId="2147483713"/>
          </pc:sldLayoutMkLst>
        </pc:sldLayoutChg>
        <pc:sldLayoutChg chg="delSp modSp mod">
          <pc:chgData name="Nowak Dariusz" userId="9e578734-b158-4481-befb-868697234f29" providerId="ADAL" clId="{0BF3D16E-93AA-4799-9CCE-DFF64080CEFA}" dt="2023-02-20T08:58:56.541" v="124" actId="207"/>
          <pc:sldLayoutMkLst>
            <pc:docMk/>
            <pc:sldMasterMk cId="2229949935" sldId="2147483699"/>
            <pc:sldLayoutMk cId="467180359" sldId="2147483714"/>
          </pc:sldLayoutMkLst>
          <pc:spChg chg="del">
            <ac:chgData name="Nowak Dariusz" userId="9e578734-b158-4481-befb-868697234f29" providerId="ADAL" clId="{0BF3D16E-93AA-4799-9CCE-DFF64080CEFA}" dt="2023-02-20T08:57:13.529" v="118" actId="478"/>
            <ac:spMkLst>
              <pc:docMk/>
              <pc:sldMasterMk cId="2229949935" sldId="2147483699"/>
              <pc:sldLayoutMk cId="467180359" sldId="2147483714"/>
              <ac:spMk id="5" creationId="{00000000-0000-0000-0000-000000000000}"/>
            </ac:spMkLst>
          </pc:spChg>
          <pc:spChg chg="mod">
            <ac:chgData name="Nowak Dariusz" userId="9e578734-b158-4481-befb-868697234f29" providerId="ADAL" clId="{0BF3D16E-93AA-4799-9CCE-DFF64080CEFA}" dt="2023-02-20T08:58:56.541" v="124" actId="207"/>
            <ac:spMkLst>
              <pc:docMk/>
              <pc:sldMasterMk cId="2229949935" sldId="2147483699"/>
              <pc:sldLayoutMk cId="467180359" sldId="2147483714"/>
              <ac:spMk id="6" creationId="{C9BFCF1E-FE7E-4E52-B429-1A2987159626}"/>
            </ac:spMkLst>
          </pc:spChg>
          <pc:grpChg chg="del">
            <ac:chgData name="Nowak Dariusz" userId="9e578734-b158-4481-befb-868697234f29" providerId="ADAL" clId="{0BF3D16E-93AA-4799-9CCE-DFF64080CEFA}" dt="2023-02-20T08:57:15.494" v="120" actId="478"/>
            <ac:grpSpMkLst>
              <pc:docMk/>
              <pc:sldMasterMk cId="2229949935" sldId="2147483699"/>
              <pc:sldLayoutMk cId="467180359" sldId="2147483714"/>
              <ac:grpSpMk id="2" creationId="{4FA1989F-CC01-4DAF-8362-61F5FD022AF8}"/>
            </ac:grpSpMkLst>
          </pc:grpChg>
          <pc:picChg chg="del">
            <ac:chgData name="Nowak Dariusz" userId="9e578734-b158-4481-befb-868697234f29" providerId="ADAL" clId="{0BF3D16E-93AA-4799-9CCE-DFF64080CEFA}" dt="2023-02-20T08:57:14.664" v="119" actId="478"/>
            <ac:picMkLst>
              <pc:docMk/>
              <pc:sldMasterMk cId="2229949935" sldId="2147483699"/>
              <pc:sldLayoutMk cId="467180359" sldId="2147483714"/>
              <ac:picMk id="4" creationId="{00000000-0000-0000-0000-000000000000}"/>
            </ac:picMkLst>
          </pc:picChg>
        </pc:sldLayoutChg>
        <pc:sldLayoutChg chg="delSp modSp mod">
          <pc:chgData name="Nowak Dariusz" userId="9e578734-b158-4481-befb-868697234f29" providerId="ADAL" clId="{0BF3D16E-93AA-4799-9CCE-DFF64080CEFA}" dt="2023-02-20T08:58:41.251" v="123" actId="207"/>
          <pc:sldLayoutMkLst>
            <pc:docMk/>
            <pc:sldMasterMk cId="2229949935" sldId="2147483699"/>
            <pc:sldLayoutMk cId="2205526249" sldId="2147483715"/>
          </pc:sldLayoutMkLst>
          <pc:spChg chg="mod">
            <ac:chgData name="Nowak Dariusz" userId="9e578734-b158-4481-befb-868697234f29" providerId="ADAL" clId="{0BF3D16E-93AA-4799-9CCE-DFF64080CEFA}" dt="2023-02-20T08:58:41.251" v="123" actId="207"/>
            <ac:spMkLst>
              <pc:docMk/>
              <pc:sldMasterMk cId="2229949935" sldId="2147483699"/>
              <pc:sldLayoutMk cId="2205526249" sldId="2147483715"/>
              <ac:spMk id="69" creationId="{C9BFCF1E-FE7E-4E52-B429-1A2987159626}"/>
            </ac:spMkLst>
          </pc:spChg>
          <pc:grpChg chg="del">
            <ac:chgData name="Nowak Dariusz" userId="9e578734-b158-4481-befb-868697234f29" providerId="ADAL" clId="{0BF3D16E-93AA-4799-9CCE-DFF64080CEFA}" dt="2023-02-20T08:57:07.678" v="115" actId="478"/>
            <ac:grpSpMkLst>
              <pc:docMk/>
              <pc:sldMasterMk cId="2229949935" sldId="2147483699"/>
              <pc:sldLayoutMk cId="2205526249" sldId="2147483715"/>
              <ac:grpSpMk id="70" creationId="{4FA1989F-CC01-4DAF-8362-61F5FD022AF8}"/>
            </ac:grpSpMkLst>
          </pc:grpChg>
        </pc:sldLayoutChg>
        <pc:sldLayoutChg chg="delSp modSp mod">
          <pc:chgData name="Nowak Dariusz" userId="9e578734-b158-4481-befb-868697234f29" providerId="ADAL" clId="{0BF3D16E-93AA-4799-9CCE-DFF64080CEFA}" dt="2023-02-20T08:59:01.790" v="125" actId="207"/>
          <pc:sldLayoutMkLst>
            <pc:docMk/>
            <pc:sldMasterMk cId="2229949935" sldId="2147483699"/>
            <pc:sldLayoutMk cId="3636194524" sldId="2147483716"/>
          </pc:sldLayoutMkLst>
          <pc:spChg chg="mod">
            <ac:chgData name="Nowak Dariusz" userId="9e578734-b158-4481-befb-868697234f29" providerId="ADAL" clId="{0BF3D16E-93AA-4799-9CCE-DFF64080CEFA}" dt="2023-02-20T08:59:01.790" v="125" actId="207"/>
            <ac:spMkLst>
              <pc:docMk/>
              <pc:sldMasterMk cId="2229949935" sldId="2147483699"/>
              <pc:sldLayoutMk cId="3636194524" sldId="2147483716"/>
              <ac:spMk id="69" creationId="{C9BFCF1E-FE7E-4E52-B429-1A2987159626}"/>
            </ac:spMkLst>
          </pc:spChg>
          <pc:grpChg chg="del">
            <ac:chgData name="Nowak Dariusz" userId="9e578734-b158-4481-befb-868697234f29" providerId="ADAL" clId="{0BF3D16E-93AA-4799-9CCE-DFF64080CEFA}" dt="2023-02-20T08:57:05.760" v="114" actId="478"/>
            <ac:grpSpMkLst>
              <pc:docMk/>
              <pc:sldMasterMk cId="2229949935" sldId="2147483699"/>
              <pc:sldLayoutMk cId="3636194524" sldId="2147483716"/>
              <ac:grpSpMk id="2" creationId="{4FA1989F-CC01-4DAF-8362-61F5FD022AF8}"/>
            </ac:grpSpMkLst>
          </pc:grpChg>
        </pc:sldLayoutChg>
        <pc:sldLayoutChg chg="delSp modSp mod">
          <pc:chgData name="Nowak Dariusz" userId="9e578734-b158-4481-befb-868697234f29" providerId="ADAL" clId="{0BF3D16E-93AA-4799-9CCE-DFF64080CEFA}" dt="2023-02-20T08:59:07.173" v="126" actId="207"/>
          <pc:sldLayoutMkLst>
            <pc:docMk/>
            <pc:sldMasterMk cId="2229949935" sldId="2147483699"/>
            <pc:sldLayoutMk cId="1854897233" sldId="2147483717"/>
          </pc:sldLayoutMkLst>
          <pc:spChg chg="mod">
            <ac:chgData name="Nowak Dariusz" userId="9e578734-b158-4481-befb-868697234f29" providerId="ADAL" clId="{0BF3D16E-93AA-4799-9CCE-DFF64080CEFA}" dt="2023-02-20T08:59:07.173" v="126" actId="207"/>
            <ac:spMkLst>
              <pc:docMk/>
              <pc:sldMasterMk cId="2229949935" sldId="2147483699"/>
              <pc:sldLayoutMk cId="1854897233" sldId="2147483717"/>
              <ac:spMk id="69" creationId="{C9BFCF1E-FE7E-4E52-B429-1A2987159626}"/>
            </ac:spMkLst>
          </pc:spChg>
          <pc:grpChg chg="del">
            <ac:chgData name="Nowak Dariusz" userId="9e578734-b158-4481-befb-868697234f29" providerId="ADAL" clId="{0BF3D16E-93AA-4799-9CCE-DFF64080CEFA}" dt="2023-02-20T08:57:09.280" v="116" actId="478"/>
            <ac:grpSpMkLst>
              <pc:docMk/>
              <pc:sldMasterMk cId="2229949935" sldId="2147483699"/>
              <pc:sldLayoutMk cId="1854897233" sldId="2147483717"/>
              <ac:grpSpMk id="2" creationId="{4FA1989F-CC01-4DAF-8362-61F5FD022AF8}"/>
            </ac:grpSpMkLst>
          </pc:grpChg>
        </pc:sldLayoutChg>
        <pc:sldLayoutChg chg="delSp modSp mod">
          <pc:chgData name="Nowak Dariusz" userId="9e578734-b158-4481-befb-868697234f29" providerId="ADAL" clId="{0BF3D16E-93AA-4799-9CCE-DFF64080CEFA}" dt="2023-02-20T08:59:10.877" v="127" actId="207"/>
          <pc:sldLayoutMkLst>
            <pc:docMk/>
            <pc:sldMasterMk cId="2229949935" sldId="2147483699"/>
            <pc:sldLayoutMk cId="412077406" sldId="2147483718"/>
          </pc:sldLayoutMkLst>
          <pc:spChg chg="mod">
            <ac:chgData name="Nowak Dariusz" userId="9e578734-b158-4481-befb-868697234f29" providerId="ADAL" clId="{0BF3D16E-93AA-4799-9CCE-DFF64080CEFA}" dt="2023-02-20T08:59:10.877" v="127" actId="207"/>
            <ac:spMkLst>
              <pc:docMk/>
              <pc:sldMasterMk cId="2229949935" sldId="2147483699"/>
              <pc:sldLayoutMk cId="412077406" sldId="2147483718"/>
              <ac:spMk id="69" creationId="{C9BFCF1E-FE7E-4E52-B429-1A2987159626}"/>
            </ac:spMkLst>
          </pc:spChg>
          <pc:grpChg chg="del">
            <ac:chgData name="Nowak Dariusz" userId="9e578734-b158-4481-befb-868697234f29" providerId="ADAL" clId="{0BF3D16E-93AA-4799-9CCE-DFF64080CEFA}" dt="2023-02-20T08:57:10.766" v="117" actId="478"/>
            <ac:grpSpMkLst>
              <pc:docMk/>
              <pc:sldMasterMk cId="2229949935" sldId="2147483699"/>
              <pc:sldLayoutMk cId="412077406" sldId="2147483718"/>
              <ac:grpSpMk id="2" creationId="{4FA1989F-CC01-4DAF-8362-61F5FD022AF8}"/>
            </ac:grpSpMkLst>
          </pc:grpChg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293CED1-B5A9-49D2-AFAD-C024301F8369}" type="doc">
      <dgm:prSet loTypeId="urn:microsoft.com/office/officeart/2008/layout/NameandTitleOrganizationalChart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l-PL"/>
        </a:p>
      </dgm:t>
    </dgm:pt>
    <dgm:pt modelId="{7CFAA508-EAB1-4325-A73D-2ACEA179E4B4}">
      <dgm:prSet phldrT="[Tekst]" custT="1"/>
      <dgm:spPr>
        <a:solidFill>
          <a:srgbClr val="A6A7A8"/>
        </a:solidFill>
      </dgm:spPr>
      <dgm:t>
        <a:bodyPr/>
        <a:lstStyle/>
        <a:p>
          <a:r>
            <a:rPr lang="pl-PL" sz="14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SPM/PM</a:t>
          </a:r>
        </a:p>
      </dgm:t>
    </dgm:pt>
    <dgm:pt modelId="{96374F46-6B39-4852-B057-3CEEAE2716E9}" type="parTrans" cxnId="{4488FE3B-97CE-4549-AA66-F724068BFC10}">
      <dgm:prSet/>
      <dgm:spPr/>
      <dgm:t>
        <a:bodyPr/>
        <a:lstStyle/>
        <a:p>
          <a:endParaRPr lang="pl-PL"/>
        </a:p>
      </dgm:t>
    </dgm:pt>
    <dgm:pt modelId="{295072D3-B73D-4870-A1EC-E7C4870430E8}" type="sibTrans" cxnId="{4488FE3B-97CE-4549-AA66-F724068BFC10}">
      <dgm:prSet custT="1"/>
      <dgm:spPr/>
      <dgm:t>
        <a:bodyPr/>
        <a:lstStyle/>
        <a:p>
          <a:r>
            <a:rPr lang="pl-PL" sz="1200" dirty="0">
              <a:latin typeface="Arial" pitchFamily="34" charset="0"/>
              <a:cs typeface="Arial" pitchFamily="34" charset="0"/>
            </a:rPr>
            <a:t>zdjęcie</a:t>
          </a:r>
        </a:p>
      </dgm:t>
    </dgm:pt>
    <dgm:pt modelId="{E6402D96-30AC-4643-95AC-1A8636F34601}" type="asst">
      <dgm:prSet phldrT="[Tekst]" custT="1"/>
      <dgm:spPr>
        <a:solidFill>
          <a:srgbClr val="D9DF20"/>
        </a:solidFill>
      </dgm:spPr>
      <dgm:t>
        <a:bodyPr/>
        <a:lstStyle/>
        <a:p>
          <a:r>
            <a:rPr lang="pl-PL" sz="14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Dyrektor Budowy</a:t>
          </a:r>
        </a:p>
      </dgm:t>
    </dgm:pt>
    <dgm:pt modelId="{21B27BD8-5A8D-4204-9F21-1A586F448231}" type="parTrans" cxnId="{7BBF25B4-5A43-4B3A-B7F0-0B063D1E310D}">
      <dgm:prSet/>
      <dgm:spPr>
        <a:ln>
          <a:solidFill>
            <a:srgbClr val="D9DF20"/>
          </a:solidFill>
        </a:ln>
      </dgm:spPr>
      <dgm:t>
        <a:bodyPr/>
        <a:lstStyle/>
        <a:p>
          <a:endParaRPr lang="pl-PL"/>
        </a:p>
      </dgm:t>
    </dgm:pt>
    <dgm:pt modelId="{320D2D85-2FBC-4DC8-9DFF-E54AA722C513}" type="sibTrans" cxnId="{7BBF25B4-5A43-4B3A-B7F0-0B063D1E310D}">
      <dgm:prSet custT="1"/>
      <dgm:spPr/>
      <dgm:t>
        <a:bodyPr/>
        <a:lstStyle/>
        <a:p>
          <a:r>
            <a:rPr lang="pl-PL" sz="1200" dirty="0">
              <a:latin typeface="Arial" pitchFamily="34" charset="0"/>
              <a:cs typeface="Arial" pitchFamily="34" charset="0"/>
            </a:rPr>
            <a:t>zdjęcie</a:t>
          </a:r>
        </a:p>
      </dgm:t>
    </dgm:pt>
    <dgm:pt modelId="{B1E9E9F8-E08E-4D98-83AA-B672B17D0383}">
      <dgm:prSet phldrT="[Tekst]" custT="1"/>
      <dgm:spPr>
        <a:solidFill>
          <a:srgbClr val="6DCFF6"/>
        </a:solidFill>
      </dgm:spPr>
      <dgm:t>
        <a:bodyPr/>
        <a:lstStyle/>
        <a:p>
          <a:r>
            <a:rPr lang="pl-PL" sz="14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Kierownik Robót </a:t>
          </a:r>
        </a:p>
      </dgm:t>
    </dgm:pt>
    <dgm:pt modelId="{F7AA5CCE-FE0D-41BA-AC35-98E8D0C2653E}" type="parTrans" cxnId="{A49ACBAD-6EAA-4475-86E2-719F3DBE4271}">
      <dgm:prSet/>
      <dgm:spPr>
        <a:ln>
          <a:solidFill>
            <a:srgbClr val="6DCFF6"/>
          </a:solidFill>
        </a:ln>
      </dgm:spPr>
      <dgm:t>
        <a:bodyPr/>
        <a:lstStyle/>
        <a:p>
          <a:endParaRPr lang="pl-PL"/>
        </a:p>
      </dgm:t>
    </dgm:pt>
    <dgm:pt modelId="{5FFC95E6-A19C-46C1-BC16-4BEA2EAF7EBC}" type="sibTrans" cxnId="{A49ACBAD-6EAA-4475-86E2-719F3DBE4271}">
      <dgm:prSet custT="1"/>
      <dgm:spPr/>
      <dgm:t>
        <a:bodyPr/>
        <a:lstStyle/>
        <a:p>
          <a:r>
            <a:rPr lang="pl-PL" sz="1200" dirty="0">
              <a:latin typeface="Arial" pitchFamily="34" charset="0"/>
              <a:cs typeface="Arial" pitchFamily="34" charset="0"/>
            </a:rPr>
            <a:t>zdjęcie</a:t>
          </a:r>
        </a:p>
      </dgm:t>
    </dgm:pt>
    <dgm:pt modelId="{90C415DF-4292-4557-8538-AFF9795EFB0E}">
      <dgm:prSet phldrT="[Tekst]" custT="1"/>
      <dgm:spPr>
        <a:solidFill>
          <a:srgbClr val="6DCFF6"/>
        </a:solidFill>
      </dgm:spPr>
      <dgm:t>
        <a:bodyPr/>
        <a:lstStyle/>
        <a:p>
          <a:r>
            <a:rPr lang="pl-PL" sz="14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Koordynator BHP i OŚ</a:t>
          </a:r>
        </a:p>
      </dgm:t>
    </dgm:pt>
    <dgm:pt modelId="{C5AADB7D-F896-41D8-86E0-11E4946D67E5}" type="parTrans" cxnId="{29B0CF1B-5E82-47C9-A92C-8ECB95E3FEEC}">
      <dgm:prSet/>
      <dgm:spPr>
        <a:ln>
          <a:solidFill>
            <a:srgbClr val="6DCFF6"/>
          </a:solidFill>
        </a:ln>
      </dgm:spPr>
      <dgm:t>
        <a:bodyPr/>
        <a:lstStyle/>
        <a:p>
          <a:endParaRPr lang="pl-PL"/>
        </a:p>
      </dgm:t>
    </dgm:pt>
    <dgm:pt modelId="{7D1489F8-0EAA-48FC-A52D-DB0518EDFCB2}" type="sibTrans" cxnId="{29B0CF1B-5E82-47C9-A92C-8ECB95E3FEEC}">
      <dgm:prSet custT="1"/>
      <dgm:spPr/>
      <dgm:t>
        <a:bodyPr/>
        <a:lstStyle/>
        <a:p>
          <a:r>
            <a:rPr lang="pl-PL" sz="1200" dirty="0">
              <a:latin typeface="Arial" pitchFamily="34" charset="0"/>
              <a:cs typeface="Arial" pitchFamily="34" charset="0"/>
            </a:rPr>
            <a:t>zdjęcie</a:t>
          </a:r>
        </a:p>
      </dgm:t>
    </dgm:pt>
    <dgm:pt modelId="{DF497D28-526E-476D-AFB2-D818CA22B577}">
      <dgm:prSet phldrT="[Tekst]" custT="1"/>
      <dgm:spPr>
        <a:solidFill>
          <a:srgbClr val="6DCFF6"/>
        </a:solidFill>
      </dgm:spPr>
      <dgm:t>
        <a:bodyPr/>
        <a:lstStyle/>
        <a:p>
          <a:r>
            <a:rPr lang="pl-PL" sz="14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…..</a:t>
          </a:r>
        </a:p>
      </dgm:t>
    </dgm:pt>
    <dgm:pt modelId="{2AFA5994-6E6E-4251-9CDA-9456BCA03E1C}" type="parTrans" cxnId="{817B7B7E-4259-4D8D-813C-994473669FA3}">
      <dgm:prSet/>
      <dgm:spPr>
        <a:ln>
          <a:solidFill>
            <a:srgbClr val="6DCFF6"/>
          </a:solidFill>
        </a:ln>
      </dgm:spPr>
      <dgm:t>
        <a:bodyPr/>
        <a:lstStyle/>
        <a:p>
          <a:endParaRPr lang="pl-PL"/>
        </a:p>
      </dgm:t>
    </dgm:pt>
    <dgm:pt modelId="{FFB0B488-E094-44D2-9870-2DB31BF9AE44}" type="sibTrans" cxnId="{817B7B7E-4259-4D8D-813C-994473669FA3}">
      <dgm:prSet/>
      <dgm:spPr/>
      <dgm:t>
        <a:bodyPr/>
        <a:lstStyle/>
        <a:p>
          <a:endParaRPr lang="pl-PL"/>
        </a:p>
      </dgm:t>
    </dgm:pt>
    <dgm:pt modelId="{C3402E96-69AF-4B62-82D8-4D00F48AE963}" type="asst">
      <dgm:prSet custT="1"/>
      <dgm:spPr>
        <a:solidFill>
          <a:srgbClr val="D9DF20"/>
        </a:solidFill>
      </dgm:spPr>
      <dgm:t>
        <a:bodyPr/>
        <a:lstStyle/>
        <a:p>
          <a:r>
            <a:rPr lang="pl-PL" sz="14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Kierownik Budowy</a:t>
          </a:r>
        </a:p>
      </dgm:t>
    </dgm:pt>
    <dgm:pt modelId="{F666D108-2C85-42D2-9733-CE37E2023762}" type="parTrans" cxnId="{613C9206-E0A6-407B-A5AB-CD9E3B8DE877}">
      <dgm:prSet/>
      <dgm:spPr>
        <a:ln>
          <a:solidFill>
            <a:srgbClr val="D9DF20"/>
          </a:solidFill>
        </a:ln>
      </dgm:spPr>
      <dgm:t>
        <a:bodyPr/>
        <a:lstStyle/>
        <a:p>
          <a:endParaRPr lang="pl-PL"/>
        </a:p>
      </dgm:t>
    </dgm:pt>
    <dgm:pt modelId="{F3C475B9-D972-4036-8737-92C48907AA93}" type="sibTrans" cxnId="{613C9206-E0A6-407B-A5AB-CD9E3B8DE877}">
      <dgm:prSet custT="1"/>
      <dgm:spPr/>
      <dgm:t>
        <a:bodyPr/>
        <a:lstStyle/>
        <a:p>
          <a:r>
            <a:rPr lang="pl-PL" sz="1200" dirty="0">
              <a:latin typeface="Arial" pitchFamily="34" charset="0"/>
              <a:cs typeface="Arial" pitchFamily="34" charset="0"/>
            </a:rPr>
            <a:t>zdjęcie</a:t>
          </a:r>
        </a:p>
      </dgm:t>
    </dgm:pt>
    <dgm:pt modelId="{F57C80C3-31BA-4EBF-94B0-39D3496463D9}">
      <dgm:prSet/>
      <dgm:spPr>
        <a:solidFill>
          <a:srgbClr val="6DCFF6"/>
        </a:solidFill>
      </dgm:spPr>
      <dgm:t>
        <a:bodyPr/>
        <a:lstStyle/>
        <a:p>
          <a:endParaRPr lang="pl-PL" dirty="0"/>
        </a:p>
      </dgm:t>
    </dgm:pt>
    <dgm:pt modelId="{C4AB0F11-4CA6-4078-9855-3616A6E5B0AF}" type="parTrans" cxnId="{5A81CECA-708B-4723-8D92-367913DEF98D}">
      <dgm:prSet/>
      <dgm:spPr>
        <a:ln>
          <a:solidFill>
            <a:srgbClr val="6DCFF6"/>
          </a:solidFill>
        </a:ln>
      </dgm:spPr>
      <dgm:t>
        <a:bodyPr/>
        <a:lstStyle/>
        <a:p>
          <a:endParaRPr lang="pl-PL"/>
        </a:p>
      </dgm:t>
    </dgm:pt>
    <dgm:pt modelId="{B6DE40DB-6C88-4BA8-A537-FC46362D9095}" type="sibTrans" cxnId="{5A81CECA-708B-4723-8D92-367913DEF98D}">
      <dgm:prSet/>
      <dgm:spPr/>
      <dgm:t>
        <a:bodyPr/>
        <a:lstStyle/>
        <a:p>
          <a:endParaRPr lang="pl-PL"/>
        </a:p>
      </dgm:t>
    </dgm:pt>
    <dgm:pt modelId="{8CE38C69-EB96-4651-9B3E-53748AE5FC6C}" type="pres">
      <dgm:prSet presAssocID="{E293CED1-B5A9-49D2-AFAD-C024301F8369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5C0A1056-0DED-45C9-8611-503BDAD206AC}" type="pres">
      <dgm:prSet presAssocID="{7CFAA508-EAB1-4325-A73D-2ACEA179E4B4}" presName="hierRoot1" presStyleCnt="0">
        <dgm:presLayoutVars>
          <dgm:hierBranch val="init"/>
        </dgm:presLayoutVars>
      </dgm:prSet>
      <dgm:spPr/>
    </dgm:pt>
    <dgm:pt modelId="{13F7DB04-BCA7-4FCC-8599-A18B09CE8B7F}" type="pres">
      <dgm:prSet presAssocID="{7CFAA508-EAB1-4325-A73D-2ACEA179E4B4}" presName="rootComposite1" presStyleCnt="0"/>
      <dgm:spPr/>
    </dgm:pt>
    <dgm:pt modelId="{EAECC0AD-5679-47BB-8159-686619419F49}" type="pres">
      <dgm:prSet presAssocID="{7CFAA508-EAB1-4325-A73D-2ACEA179E4B4}" presName="rootText1" presStyleLbl="node0" presStyleIdx="0" presStyleCnt="1">
        <dgm:presLayoutVars>
          <dgm:chMax/>
          <dgm:chPref val="3"/>
        </dgm:presLayoutVars>
      </dgm:prSet>
      <dgm:spPr/>
    </dgm:pt>
    <dgm:pt modelId="{0FF21C90-A7FA-40DF-BAF1-07732493166F}" type="pres">
      <dgm:prSet presAssocID="{7CFAA508-EAB1-4325-A73D-2ACEA179E4B4}" presName="titleText1" presStyleLbl="fgAcc0" presStyleIdx="0" presStyleCnt="1">
        <dgm:presLayoutVars>
          <dgm:chMax val="0"/>
          <dgm:chPref val="0"/>
        </dgm:presLayoutVars>
      </dgm:prSet>
      <dgm:spPr/>
    </dgm:pt>
    <dgm:pt modelId="{6F1BA2B2-EE14-4CED-8F06-D878374E69F6}" type="pres">
      <dgm:prSet presAssocID="{7CFAA508-EAB1-4325-A73D-2ACEA179E4B4}" presName="rootConnector1" presStyleLbl="node1" presStyleIdx="0" presStyleCnt="4"/>
      <dgm:spPr/>
    </dgm:pt>
    <dgm:pt modelId="{23E6FE94-17E2-4480-A6BD-921B2EF06F7A}" type="pres">
      <dgm:prSet presAssocID="{7CFAA508-EAB1-4325-A73D-2ACEA179E4B4}" presName="hierChild2" presStyleCnt="0"/>
      <dgm:spPr/>
    </dgm:pt>
    <dgm:pt modelId="{0B9224BE-71E0-4F45-A79C-E181B98D93BE}" type="pres">
      <dgm:prSet presAssocID="{F7AA5CCE-FE0D-41BA-AC35-98E8D0C2653E}" presName="Name37" presStyleLbl="parChTrans1D2" presStyleIdx="0" presStyleCnt="6"/>
      <dgm:spPr/>
    </dgm:pt>
    <dgm:pt modelId="{C9F063B1-EA72-4429-B7A6-A71E4884C9F7}" type="pres">
      <dgm:prSet presAssocID="{B1E9E9F8-E08E-4D98-83AA-B672B17D0383}" presName="hierRoot2" presStyleCnt="0">
        <dgm:presLayoutVars>
          <dgm:hierBranch val="init"/>
        </dgm:presLayoutVars>
      </dgm:prSet>
      <dgm:spPr/>
    </dgm:pt>
    <dgm:pt modelId="{4844CC2B-9FE2-4DB3-B04A-4111FCFE52B2}" type="pres">
      <dgm:prSet presAssocID="{B1E9E9F8-E08E-4D98-83AA-B672B17D0383}" presName="rootComposite" presStyleCnt="0"/>
      <dgm:spPr/>
    </dgm:pt>
    <dgm:pt modelId="{F725E242-9FB8-4564-98BE-C2B511EDB45A}" type="pres">
      <dgm:prSet presAssocID="{B1E9E9F8-E08E-4D98-83AA-B672B17D0383}" presName="rootText" presStyleLbl="node1" presStyleIdx="0" presStyleCnt="4">
        <dgm:presLayoutVars>
          <dgm:chMax/>
          <dgm:chPref val="3"/>
        </dgm:presLayoutVars>
      </dgm:prSet>
      <dgm:spPr/>
    </dgm:pt>
    <dgm:pt modelId="{16101845-A618-4356-91EB-A156721F3E34}" type="pres">
      <dgm:prSet presAssocID="{B1E9E9F8-E08E-4D98-83AA-B672B17D0383}" presName="titleText2" presStyleLbl="fgAcc1" presStyleIdx="0" presStyleCnt="4">
        <dgm:presLayoutVars>
          <dgm:chMax val="0"/>
          <dgm:chPref val="0"/>
        </dgm:presLayoutVars>
      </dgm:prSet>
      <dgm:spPr/>
    </dgm:pt>
    <dgm:pt modelId="{89F21B12-E21C-4AC7-AE16-DF5DDFF07D55}" type="pres">
      <dgm:prSet presAssocID="{B1E9E9F8-E08E-4D98-83AA-B672B17D0383}" presName="rootConnector" presStyleLbl="node2" presStyleIdx="0" presStyleCnt="0"/>
      <dgm:spPr/>
    </dgm:pt>
    <dgm:pt modelId="{9485BE15-DF5F-4EEC-BA14-9C6C094B6C3E}" type="pres">
      <dgm:prSet presAssocID="{B1E9E9F8-E08E-4D98-83AA-B672B17D0383}" presName="hierChild4" presStyleCnt="0"/>
      <dgm:spPr/>
    </dgm:pt>
    <dgm:pt modelId="{EFB92109-CFE8-4C21-8EBE-1B4133F9BA05}" type="pres">
      <dgm:prSet presAssocID="{B1E9E9F8-E08E-4D98-83AA-B672B17D0383}" presName="hierChild5" presStyleCnt="0"/>
      <dgm:spPr/>
    </dgm:pt>
    <dgm:pt modelId="{E3DB9741-7B59-4ADE-BF50-1A5B17A8CE3F}" type="pres">
      <dgm:prSet presAssocID="{C5AADB7D-F896-41D8-86E0-11E4946D67E5}" presName="Name37" presStyleLbl="parChTrans1D2" presStyleIdx="1" presStyleCnt="6"/>
      <dgm:spPr/>
    </dgm:pt>
    <dgm:pt modelId="{649D86F1-2884-4F38-88F7-DFD7795978EB}" type="pres">
      <dgm:prSet presAssocID="{90C415DF-4292-4557-8538-AFF9795EFB0E}" presName="hierRoot2" presStyleCnt="0">
        <dgm:presLayoutVars>
          <dgm:hierBranch val="init"/>
        </dgm:presLayoutVars>
      </dgm:prSet>
      <dgm:spPr/>
    </dgm:pt>
    <dgm:pt modelId="{E4FB64C0-43FF-41AA-84C4-42D166F09BE6}" type="pres">
      <dgm:prSet presAssocID="{90C415DF-4292-4557-8538-AFF9795EFB0E}" presName="rootComposite" presStyleCnt="0"/>
      <dgm:spPr/>
    </dgm:pt>
    <dgm:pt modelId="{D36C0C50-F574-489F-9CF8-A189F70435B3}" type="pres">
      <dgm:prSet presAssocID="{90C415DF-4292-4557-8538-AFF9795EFB0E}" presName="rootText" presStyleLbl="node1" presStyleIdx="1" presStyleCnt="4">
        <dgm:presLayoutVars>
          <dgm:chMax/>
          <dgm:chPref val="3"/>
        </dgm:presLayoutVars>
      </dgm:prSet>
      <dgm:spPr/>
    </dgm:pt>
    <dgm:pt modelId="{84EE05FD-350F-4672-B015-8E706D408ED4}" type="pres">
      <dgm:prSet presAssocID="{90C415DF-4292-4557-8538-AFF9795EFB0E}" presName="titleText2" presStyleLbl="fgAcc1" presStyleIdx="1" presStyleCnt="4">
        <dgm:presLayoutVars>
          <dgm:chMax val="0"/>
          <dgm:chPref val="0"/>
        </dgm:presLayoutVars>
      </dgm:prSet>
      <dgm:spPr/>
    </dgm:pt>
    <dgm:pt modelId="{3AD58E0A-D343-4930-8623-FCFFB87601B9}" type="pres">
      <dgm:prSet presAssocID="{90C415DF-4292-4557-8538-AFF9795EFB0E}" presName="rootConnector" presStyleLbl="node2" presStyleIdx="0" presStyleCnt="0"/>
      <dgm:spPr/>
    </dgm:pt>
    <dgm:pt modelId="{61C2CA64-FA94-4903-B23C-4DCD560C7F3A}" type="pres">
      <dgm:prSet presAssocID="{90C415DF-4292-4557-8538-AFF9795EFB0E}" presName="hierChild4" presStyleCnt="0"/>
      <dgm:spPr/>
    </dgm:pt>
    <dgm:pt modelId="{4636A3EF-4080-496F-8A74-5D55D2B51F7C}" type="pres">
      <dgm:prSet presAssocID="{90C415DF-4292-4557-8538-AFF9795EFB0E}" presName="hierChild5" presStyleCnt="0"/>
      <dgm:spPr/>
    </dgm:pt>
    <dgm:pt modelId="{F9BEC2C4-B325-41BE-B6A3-32A403AC7170}" type="pres">
      <dgm:prSet presAssocID="{2AFA5994-6E6E-4251-9CDA-9456BCA03E1C}" presName="Name37" presStyleLbl="parChTrans1D2" presStyleIdx="2" presStyleCnt="6"/>
      <dgm:spPr/>
    </dgm:pt>
    <dgm:pt modelId="{0EBE191A-BCC0-401D-BECB-9B6D07FC1A91}" type="pres">
      <dgm:prSet presAssocID="{DF497D28-526E-476D-AFB2-D818CA22B577}" presName="hierRoot2" presStyleCnt="0">
        <dgm:presLayoutVars>
          <dgm:hierBranch val="init"/>
        </dgm:presLayoutVars>
      </dgm:prSet>
      <dgm:spPr/>
    </dgm:pt>
    <dgm:pt modelId="{D7BE2512-4030-456D-91E0-F62DAFC4D89C}" type="pres">
      <dgm:prSet presAssocID="{DF497D28-526E-476D-AFB2-D818CA22B577}" presName="rootComposite" presStyleCnt="0"/>
      <dgm:spPr/>
    </dgm:pt>
    <dgm:pt modelId="{7002CCBE-21D2-4CC1-92D0-DB50FC31FD4A}" type="pres">
      <dgm:prSet presAssocID="{DF497D28-526E-476D-AFB2-D818CA22B577}" presName="rootText" presStyleLbl="node1" presStyleIdx="2" presStyleCnt="4">
        <dgm:presLayoutVars>
          <dgm:chMax/>
          <dgm:chPref val="3"/>
        </dgm:presLayoutVars>
      </dgm:prSet>
      <dgm:spPr/>
    </dgm:pt>
    <dgm:pt modelId="{5A577F11-7776-4E5E-8CA0-1333284000E6}" type="pres">
      <dgm:prSet presAssocID="{DF497D28-526E-476D-AFB2-D818CA22B577}" presName="titleText2" presStyleLbl="fgAcc1" presStyleIdx="2" presStyleCnt="4">
        <dgm:presLayoutVars>
          <dgm:chMax val="0"/>
          <dgm:chPref val="0"/>
        </dgm:presLayoutVars>
      </dgm:prSet>
      <dgm:spPr/>
    </dgm:pt>
    <dgm:pt modelId="{CE4CFDFE-C34D-4930-8D16-6B81D6037A5A}" type="pres">
      <dgm:prSet presAssocID="{DF497D28-526E-476D-AFB2-D818CA22B577}" presName="rootConnector" presStyleLbl="node2" presStyleIdx="0" presStyleCnt="0"/>
      <dgm:spPr/>
    </dgm:pt>
    <dgm:pt modelId="{0D9C0CFE-617C-441E-8C3A-B86499D022B5}" type="pres">
      <dgm:prSet presAssocID="{DF497D28-526E-476D-AFB2-D818CA22B577}" presName="hierChild4" presStyleCnt="0"/>
      <dgm:spPr/>
    </dgm:pt>
    <dgm:pt modelId="{31E2F1CB-4589-434C-B0D1-7709CCBE6D3A}" type="pres">
      <dgm:prSet presAssocID="{DF497D28-526E-476D-AFB2-D818CA22B577}" presName="hierChild5" presStyleCnt="0"/>
      <dgm:spPr/>
    </dgm:pt>
    <dgm:pt modelId="{4C3C4242-E156-4DA9-8F7B-1117E238912B}" type="pres">
      <dgm:prSet presAssocID="{C4AB0F11-4CA6-4078-9855-3616A6E5B0AF}" presName="Name37" presStyleLbl="parChTrans1D2" presStyleIdx="3" presStyleCnt="6"/>
      <dgm:spPr/>
    </dgm:pt>
    <dgm:pt modelId="{50AA122D-E4FC-47D8-B2AA-3443FA24880C}" type="pres">
      <dgm:prSet presAssocID="{F57C80C3-31BA-4EBF-94B0-39D3496463D9}" presName="hierRoot2" presStyleCnt="0">
        <dgm:presLayoutVars>
          <dgm:hierBranch val="init"/>
        </dgm:presLayoutVars>
      </dgm:prSet>
      <dgm:spPr/>
    </dgm:pt>
    <dgm:pt modelId="{6B0F156B-44CA-486C-B95A-D2F88A82504B}" type="pres">
      <dgm:prSet presAssocID="{F57C80C3-31BA-4EBF-94B0-39D3496463D9}" presName="rootComposite" presStyleCnt="0"/>
      <dgm:spPr/>
    </dgm:pt>
    <dgm:pt modelId="{F7FC3F3F-D80F-42DE-9DA1-223FFE0E12C5}" type="pres">
      <dgm:prSet presAssocID="{F57C80C3-31BA-4EBF-94B0-39D3496463D9}" presName="rootText" presStyleLbl="node1" presStyleIdx="3" presStyleCnt="4">
        <dgm:presLayoutVars>
          <dgm:chMax/>
          <dgm:chPref val="3"/>
        </dgm:presLayoutVars>
      </dgm:prSet>
      <dgm:spPr/>
    </dgm:pt>
    <dgm:pt modelId="{BFDC359B-BA27-41CE-BC14-D48F6F75CB90}" type="pres">
      <dgm:prSet presAssocID="{F57C80C3-31BA-4EBF-94B0-39D3496463D9}" presName="titleText2" presStyleLbl="fgAcc1" presStyleIdx="3" presStyleCnt="4">
        <dgm:presLayoutVars>
          <dgm:chMax val="0"/>
          <dgm:chPref val="0"/>
        </dgm:presLayoutVars>
      </dgm:prSet>
      <dgm:spPr/>
    </dgm:pt>
    <dgm:pt modelId="{FA887ADB-C257-4E88-ABB4-DD690C188154}" type="pres">
      <dgm:prSet presAssocID="{F57C80C3-31BA-4EBF-94B0-39D3496463D9}" presName="rootConnector" presStyleLbl="node2" presStyleIdx="0" presStyleCnt="0"/>
      <dgm:spPr/>
    </dgm:pt>
    <dgm:pt modelId="{D2456BAF-B3DD-4685-B549-D4B8C514AC5A}" type="pres">
      <dgm:prSet presAssocID="{F57C80C3-31BA-4EBF-94B0-39D3496463D9}" presName="hierChild4" presStyleCnt="0"/>
      <dgm:spPr/>
    </dgm:pt>
    <dgm:pt modelId="{6BE9D03F-63B4-4C2C-9609-718C55E340C7}" type="pres">
      <dgm:prSet presAssocID="{F57C80C3-31BA-4EBF-94B0-39D3496463D9}" presName="hierChild5" presStyleCnt="0"/>
      <dgm:spPr/>
    </dgm:pt>
    <dgm:pt modelId="{4589BD91-A8BC-409F-8DB6-0E924BF135F8}" type="pres">
      <dgm:prSet presAssocID="{7CFAA508-EAB1-4325-A73D-2ACEA179E4B4}" presName="hierChild3" presStyleCnt="0"/>
      <dgm:spPr/>
    </dgm:pt>
    <dgm:pt modelId="{A48FCEFC-028A-48C7-9D12-4E5D98C5E42C}" type="pres">
      <dgm:prSet presAssocID="{21B27BD8-5A8D-4204-9F21-1A586F448231}" presName="Name96" presStyleLbl="parChTrans1D2" presStyleIdx="4" presStyleCnt="6"/>
      <dgm:spPr/>
    </dgm:pt>
    <dgm:pt modelId="{9F4D3127-E622-4A76-A4C2-87B035A87A5B}" type="pres">
      <dgm:prSet presAssocID="{E6402D96-30AC-4643-95AC-1A8636F34601}" presName="hierRoot3" presStyleCnt="0">
        <dgm:presLayoutVars>
          <dgm:hierBranch val="init"/>
        </dgm:presLayoutVars>
      </dgm:prSet>
      <dgm:spPr/>
    </dgm:pt>
    <dgm:pt modelId="{C924E4BE-1F86-4825-86A1-CF87C374B661}" type="pres">
      <dgm:prSet presAssocID="{E6402D96-30AC-4643-95AC-1A8636F34601}" presName="rootComposite3" presStyleCnt="0"/>
      <dgm:spPr/>
    </dgm:pt>
    <dgm:pt modelId="{5A99F425-1EA9-4A3E-B2C9-D0FA38928DB8}" type="pres">
      <dgm:prSet presAssocID="{E6402D96-30AC-4643-95AC-1A8636F34601}" presName="rootText3" presStyleLbl="asst1" presStyleIdx="0" presStyleCnt="2">
        <dgm:presLayoutVars>
          <dgm:chPref val="3"/>
        </dgm:presLayoutVars>
      </dgm:prSet>
      <dgm:spPr/>
    </dgm:pt>
    <dgm:pt modelId="{1D06D778-9725-49BB-8FC5-325057DE3AC3}" type="pres">
      <dgm:prSet presAssocID="{E6402D96-30AC-4643-95AC-1A8636F34601}" presName="titleText3" presStyleLbl="fgAcc2" presStyleIdx="0" presStyleCnt="2">
        <dgm:presLayoutVars>
          <dgm:chMax val="0"/>
          <dgm:chPref val="0"/>
        </dgm:presLayoutVars>
      </dgm:prSet>
      <dgm:spPr/>
    </dgm:pt>
    <dgm:pt modelId="{584335BF-5C22-4DF3-95F8-49D99453D133}" type="pres">
      <dgm:prSet presAssocID="{E6402D96-30AC-4643-95AC-1A8636F34601}" presName="rootConnector3" presStyleLbl="asst1" presStyleIdx="0" presStyleCnt="2"/>
      <dgm:spPr/>
    </dgm:pt>
    <dgm:pt modelId="{EB1AADDB-BFF4-4893-B873-B53F8103F396}" type="pres">
      <dgm:prSet presAssocID="{E6402D96-30AC-4643-95AC-1A8636F34601}" presName="hierChild6" presStyleCnt="0"/>
      <dgm:spPr/>
    </dgm:pt>
    <dgm:pt modelId="{932A161D-DB7A-426C-96BB-FF132F0FEF71}" type="pres">
      <dgm:prSet presAssocID="{E6402D96-30AC-4643-95AC-1A8636F34601}" presName="hierChild7" presStyleCnt="0"/>
      <dgm:spPr/>
    </dgm:pt>
    <dgm:pt modelId="{49610F70-20BB-4FAD-BFEB-5C11A797390E}" type="pres">
      <dgm:prSet presAssocID="{F666D108-2C85-42D2-9733-CE37E2023762}" presName="Name96" presStyleLbl="parChTrans1D2" presStyleIdx="5" presStyleCnt="6"/>
      <dgm:spPr/>
    </dgm:pt>
    <dgm:pt modelId="{ED352DCB-225A-442F-BCA2-B00883A722F3}" type="pres">
      <dgm:prSet presAssocID="{C3402E96-69AF-4B62-82D8-4D00F48AE963}" presName="hierRoot3" presStyleCnt="0">
        <dgm:presLayoutVars>
          <dgm:hierBranch val="init"/>
        </dgm:presLayoutVars>
      </dgm:prSet>
      <dgm:spPr/>
    </dgm:pt>
    <dgm:pt modelId="{B28821D3-5AAA-449A-B718-42101423A5D4}" type="pres">
      <dgm:prSet presAssocID="{C3402E96-69AF-4B62-82D8-4D00F48AE963}" presName="rootComposite3" presStyleCnt="0"/>
      <dgm:spPr/>
    </dgm:pt>
    <dgm:pt modelId="{13D0C237-A8B2-43D0-AD6E-1742C4806465}" type="pres">
      <dgm:prSet presAssocID="{C3402E96-69AF-4B62-82D8-4D00F48AE963}" presName="rootText3" presStyleLbl="asst1" presStyleIdx="1" presStyleCnt="2">
        <dgm:presLayoutVars>
          <dgm:chPref val="3"/>
        </dgm:presLayoutVars>
      </dgm:prSet>
      <dgm:spPr/>
    </dgm:pt>
    <dgm:pt modelId="{8CB5E423-F550-4019-871F-B5E118A5177B}" type="pres">
      <dgm:prSet presAssocID="{C3402E96-69AF-4B62-82D8-4D00F48AE963}" presName="titleText3" presStyleLbl="fgAcc2" presStyleIdx="1" presStyleCnt="2">
        <dgm:presLayoutVars>
          <dgm:chMax val="0"/>
          <dgm:chPref val="0"/>
        </dgm:presLayoutVars>
      </dgm:prSet>
      <dgm:spPr/>
    </dgm:pt>
    <dgm:pt modelId="{6693B9FA-0720-479F-9EC7-5974E73AC4A1}" type="pres">
      <dgm:prSet presAssocID="{C3402E96-69AF-4B62-82D8-4D00F48AE963}" presName="rootConnector3" presStyleLbl="asst1" presStyleIdx="1" presStyleCnt="2"/>
      <dgm:spPr/>
    </dgm:pt>
    <dgm:pt modelId="{67B6CE64-379A-4969-BF72-A20AE4884472}" type="pres">
      <dgm:prSet presAssocID="{C3402E96-69AF-4B62-82D8-4D00F48AE963}" presName="hierChild6" presStyleCnt="0"/>
      <dgm:spPr/>
    </dgm:pt>
    <dgm:pt modelId="{76356E38-7239-43F3-B7B9-DF121D87C946}" type="pres">
      <dgm:prSet presAssocID="{C3402E96-69AF-4B62-82D8-4D00F48AE963}" presName="hierChild7" presStyleCnt="0"/>
      <dgm:spPr/>
    </dgm:pt>
  </dgm:ptLst>
  <dgm:cxnLst>
    <dgm:cxn modelId="{613C9206-E0A6-407B-A5AB-CD9E3B8DE877}" srcId="{7CFAA508-EAB1-4325-A73D-2ACEA179E4B4}" destId="{C3402E96-69AF-4B62-82D8-4D00F48AE963}" srcOrd="5" destOrd="0" parTransId="{F666D108-2C85-42D2-9733-CE37E2023762}" sibTransId="{F3C475B9-D972-4036-8737-92C48907AA93}"/>
    <dgm:cxn modelId="{29B0CF1B-5E82-47C9-A92C-8ECB95E3FEEC}" srcId="{7CFAA508-EAB1-4325-A73D-2ACEA179E4B4}" destId="{90C415DF-4292-4557-8538-AFF9795EFB0E}" srcOrd="2" destOrd="0" parTransId="{C5AADB7D-F896-41D8-86E0-11E4946D67E5}" sibTransId="{7D1489F8-0EAA-48FC-A52D-DB0518EDFCB2}"/>
    <dgm:cxn modelId="{4F78FC25-5362-449E-AF19-FFFCAF4A0029}" type="presOf" srcId="{5FFC95E6-A19C-46C1-BC16-4BEA2EAF7EBC}" destId="{16101845-A618-4356-91EB-A156721F3E34}" srcOrd="0" destOrd="0" presId="urn:microsoft.com/office/officeart/2008/layout/NameandTitleOrganizationalChart"/>
    <dgm:cxn modelId="{F83D4D32-20B6-4BBC-BADC-E31FC9291E29}" type="presOf" srcId="{E6402D96-30AC-4643-95AC-1A8636F34601}" destId="{5A99F425-1EA9-4A3E-B2C9-D0FA38928DB8}" srcOrd="0" destOrd="0" presId="urn:microsoft.com/office/officeart/2008/layout/NameandTitleOrganizationalChart"/>
    <dgm:cxn modelId="{4488FE3B-97CE-4549-AA66-F724068BFC10}" srcId="{E293CED1-B5A9-49D2-AFAD-C024301F8369}" destId="{7CFAA508-EAB1-4325-A73D-2ACEA179E4B4}" srcOrd="0" destOrd="0" parTransId="{96374F46-6B39-4852-B057-3CEEAE2716E9}" sibTransId="{295072D3-B73D-4870-A1EC-E7C4870430E8}"/>
    <dgm:cxn modelId="{A6E87265-73FF-43D2-AFD8-DBEF2C60A3E0}" type="presOf" srcId="{B1E9E9F8-E08E-4D98-83AA-B672B17D0383}" destId="{89F21B12-E21C-4AC7-AE16-DF5DDFF07D55}" srcOrd="1" destOrd="0" presId="urn:microsoft.com/office/officeart/2008/layout/NameandTitleOrganizationalChart"/>
    <dgm:cxn modelId="{F7147146-1BFC-4921-AE66-D8DC65921D56}" type="presOf" srcId="{7D1489F8-0EAA-48FC-A52D-DB0518EDFCB2}" destId="{84EE05FD-350F-4672-B015-8E706D408ED4}" srcOrd="0" destOrd="0" presId="urn:microsoft.com/office/officeart/2008/layout/NameandTitleOrganizationalChart"/>
    <dgm:cxn modelId="{63059967-05D1-49CD-8C25-86224D5AC005}" type="presOf" srcId="{FFB0B488-E094-44D2-9870-2DB31BF9AE44}" destId="{5A577F11-7776-4E5E-8CA0-1333284000E6}" srcOrd="0" destOrd="0" presId="urn:microsoft.com/office/officeart/2008/layout/NameandTitleOrganizationalChart"/>
    <dgm:cxn modelId="{A7234069-FCE7-4D5A-B412-51CDDEF92E37}" type="presOf" srcId="{C4AB0F11-4CA6-4078-9855-3616A6E5B0AF}" destId="{4C3C4242-E156-4DA9-8F7B-1117E238912B}" srcOrd="0" destOrd="0" presId="urn:microsoft.com/office/officeart/2008/layout/NameandTitleOrganizationalChart"/>
    <dgm:cxn modelId="{9A629269-886E-4A9E-A49A-8A9181493AC2}" type="presOf" srcId="{DF497D28-526E-476D-AFB2-D818CA22B577}" destId="{CE4CFDFE-C34D-4930-8D16-6B81D6037A5A}" srcOrd="1" destOrd="0" presId="urn:microsoft.com/office/officeart/2008/layout/NameandTitleOrganizationalChart"/>
    <dgm:cxn modelId="{2885BD69-E99B-43B8-8AFE-062C43FAC7FC}" type="presOf" srcId="{320D2D85-2FBC-4DC8-9DFF-E54AA722C513}" destId="{1D06D778-9725-49BB-8FC5-325057DE3AC3}" srcOrd="0" destOrd="0" presId="urn:microsoft.com/office/officeart/2008/layout/NameandTitleOrganizationalChart"/>
    <dgm:cxn modelId="{E7D93F4C-2CF8-4D37-85AE-1FA322E8ED52}" type="presOf" srcId="{C5AADB7D-F896-41D8-86E0-11E4946D67E5}" destId="{E3DB9741-7B59-4ADE-BF50-1A5B17A8CE3F}" srcOrd="0" destOrd="0" presId="urn:microsoft.com/office/officeart/2008/layout/NameandTitleOrganizationalChart"/>
    <dgm:cxn modelId="{FBCFBF6E-51E8-4E71-95C0-762B0C51230D}" type="presOf" srcId="{2AFA5994-6E6E-4251-9CDA-9456BCA03E1C}" destId="{F9BEC2C4-B325-41BE-B6A3-32A403AC7170}" srcOrd="0" destOrd="0" presId="urn:microsoft.com/office/officeart/2008/layout/NameandTitleOrganizationalChart"/>
    <dgm:cxn modelId="{68B46670-56AA-4705-B365-3425661381EC}" type="presOf" srcId="{B6DE40DB-6C88-4BA8-A537-FC46362D9095}" destId="{BFDC359B-BA27-41CE-BC14-D48F6F75CB90}" srcOrd="0" destOrd="0" presId="urn:microsoft.com/office/officeart/2008/layout/NameandTitleOrganizationalChart"/>
    <dgm:cxn modelId="{4FE7E950-4680-4575-AD31-9A986727AEA2}" type="presOf" srcId="{E293CED1-B5A9-49D2-AFAD-C024301F8369}" destId="{8CE38C69-EB96-4651-9B3E-53748AE5FC6C}" srcOrd="0" destOrd="0" presId="urn:microsoft.com/office/officeart/2008/layout/NameandTitleOrganizationalChart"/>
    <dgm:cxn modelId="{825A8E73-0674-4298-A77E-737E8338A824}" type="presOf" srcId="{C3402E96-69AF-4B62-82D8-4D00F48AE963}" destId="{6693B9FA-0720-479F-9EC7-5974E73AC4A1}" srcOrd="1" destOrd="0" presId="urn:microsoft.com/office/officeart/2008/layout/NameandTitleOrganizationalChart"/>
    <dgm:cxn modelId="{817B7B7E-4259-4D8D-813C-994473669FA3}" srcId="{7CFAA508-EAB1-4325-A73D-2ACEA179E4B4}" destId="{DF497D28-526E-476D-AFB2-D818CA22B577}" srcOrd="3" destOrd="0" parTransId="{2AFA5994-6E6E-4251-9CDA-9456BCA03E1C}" sibTransId="{FFB0B488-E094-44D2-9870-2DB31BF9AE44}"/>
    <dgm:cxn modelId="{3354A882-5C63-48C1-9CA2-A8B96B9C2163}" type="presOf" srcId="{C3402E96-69AF-4B62-82D8-4D00F48AE963}" destId="{13D0C237-A8B2-43D0-AD6E-1742C4806465}" srcOrd="0" destOrd="0" presId="urn:microsoft.com/office/officeart/2008/layout/NameandTitleOrganizationalChart"/>
    <dgm:cxn modelId="{8C88BA8A-253E-472E-894F-0359BE996007}" type="presOf" srcId="{295072D3-B73D-4870-A1EC-E7C4870430E8}" destId="{0FF21C90-A7FA-40DF-BAF1-07732493166F}" srcOrd="0" destOrd="0" presId="urn:microsoft.com/office/officeart/2008/layout/NameandTitleOrganizationalChart"/>
    <dgm:cxn modelId="{123FF88A-46C1-4AE1-996B-0CB351B451F4}" type="presOf" srcId="{7CFAA508-EAB1-4325-A73D-2ACEA179E4B4}" destId="{EAECC0AD-5679-47BB-8159-686619419F49}" srcOrd="0" destOrd="0" presId="urn:microsoft.com/office/officeart/2008/layout/NameandTitleOrganizationalChart"/>
    <dgm:cxn modelId="{9CD5DA8C-66FF-4CAD-9543-8D9259650F1A}" type="presOf" srcId="{F666D108-2C85-42D2-9733-CE37E2023762}" destId="{49610F70-20BB-4FAD-BFEB-5C11A797390E}" srcOrd="0" destOrd="0" presId="urn:microsoft.com/office/officeart/2008/layout/NameandTitleOrganizationalChart"/>
    <dgm:cxn modelId="{935396A2-48A0-43F5-9F3D-77DBD7CB4E28}" type="presOf" srcId="{21B27BD8-5A8D-4204-9F21-1A586F448231}" destId="{A48FCEFC-028A-48C7-9D12-4E5D98C5E42C}" srcOrd="0" destOrd="0" presId="urn:microsoft.com/office/officeart/2008/layout/NameandTitleOrganizationalChart"/>
    <dgm:cxn modelId="{819B8DA7-E74F-4763-8F09-0B8C09FE572F}" type="presOf" srcId="{B1E9E9F8-E08E-4D98-83AA-B672B17D0383}" destId="{F725E242-9FB8-4564-98BE-C2B511EDB45A}" srcOrd="0" destOrd="0" presId="urn:microsoft.com/office/officeart/2008/layout/NameandTitleOrganizationalChart"/>
    <dgm:cxn modelId="{A49ACBAD-6EAA-4475-86E2-719F3DBE4271}" srcId="{7CFAA508-EAB1-4325-A73D-2ACEA179E4B4}" destId="{B1E9E9F8-E08E-4D98-83AA-B672B17D0383}" srcOrd="1" destOrd="0" parTransId="{F7AA5CCE-FE0D-41BA-AC35-98E8D0C2653E}" sibTransId="{5FFC95E6-A19C-46C1-BC16-4BEA2EAF7EBC}"/>
    <dgm:cxn modelId="{A516E6B3-8BE6-4C95-866D-2332B0CA984B}" type="presOf" srcId="{F57C80C3-31BA-4EBF-94B0-39D3496463D9}" destId="{FA887ADB-C257-4E88-ABB4-DD690C188154}" srcOrd="1" destOrd="0" presId="urn:microsoft.com/office/officeart/2008/layout/NameandTitleOrganizationalChart"/>
    <dgm:cxn modelId="{7BBF25B4-5A43-4B3A-B7F0-0B063D1E310D}" srcId="{7CFAA508-EAB1-4325-A73D-2ACEA179E4B4}" destId="{E6402D96-30AC-4643-95AC-1A8636F34601}" srcOrd="0" destOrd="0" parTransId="{21B27BD8-5A8D-4204-9F21-1A586F448231}" sibTransId="{320D2D85-2FBC-4DC8-9DFF-E54AA722C513}"/>
    <dgm:cxn modelId="{D79ED1BB-218C-4D38-AF9A-E2BB34C90C30}" type="presOf" srcId="{F3C475B9-D972-4036-8737-92C48907AA93}" destId="{8CB5E423-F550-4019-871F-B5E118A5177B}" srcOrd="0" destOrd="0" presId="urn:microsoft.com/office/officeart/2008/layout/NameandTitleOrganizationalChart"/>
    <dgm:cxn modelId="{308543C1-CFF5-4959-8E8D-0B0A57AEE79A}" type="presOf" srcId="{F7AA5CCE-FE0D-41BA-AC35-98E8D0C2653E}" destId="{0B9224BE-71E0-4F45-A79C-E181B98D93BE}" srcOrd="0" destOrd="0" presId="urn:microsoft.com/office/officeart/2008/layout/NameandTitleOrganizationalChart"/>
    <dgm:cxn modelId="{1D896FC2-FD9F-4384-B0A8-C5583B1719D1}" type="presOf" srcId="{90C415DF-4292-4557-8538-AFF9795EFB0E}" destId="{D36C0C50-F574-489F-9CF8-A189F70435B3}" srcOrd="0" destOrd="0" presId="urn:microsoft.com/office/officeart/2008/layout/NameandTitleOrganizationalChart"/>
    <dgm:cxn modelId="{195F5DCA-5D20-4C4F-8F9E-D825BFE4F24C}" type="presOf" srcId="{F57C80C3-31BA-4EBF-94B0-39D3496463D9}" destId="{F7FC3F3F-D80F-42DE-9DA1-223FFE0E12C5}" srcOrd="0" destOrd="0" presId="urn:microsoft.com/office/officeart/2008/layout/NameandTitleOrganizationalChart"/>
    <dgm:cxn modelId="{5A81CECA-708B-4723-8D92-367913DEF98D}" srcId="{7CFAA508-EAB1-4325-A73D-2ACEA179E4B4}" destId="{F57C80C3-31BA-4EBF-94B0-39D3496463D9}" srcOrd="4" destOrd="0" parTransId="{C4AB0F11-4CA6-4078-9855-3616A6E5B0AF}" sibTransId="{B6DE40DB-6C88-4BA8-A537-FC46362D9095}"/>
    <dgm:cxn modelId="{D01F9CD7-99A3-4507-BB05-1BBD1A51FFBD}" type="presOf" srcId="{E6402D96-30AC-4643-95AC-1A8636F34601}" destId="{584335BF-5C22-4DF3-95F8-49D99453D133}" srcOrd="1" destOrd="0" presId="urn:microsoft.com/office/officeart/2008/layout/NameandTitleOrganizationalChart"/>
    <dgm:cxn modelId="{0C4BB8E7-095B-4030-A633-05A95D00B32D}" type="presOf" srcId="{7CFAA508-EAB1-4325-A73D-2ACEA179E4B4}" destId="{6F1BA2B2-EE14-4CED-8F06-D878374E69F6}" srcOrd="1" destOrd="0" presId="urn:microsoft.com/office/officeart/2008/layout/NameandTitleOrganizationalChart"/>
    <dgm:cxn modelId="{CCC103FB-F3D4-4B6E-AE08-BBF7D5103BB8}" type="presOf" srcId="{DF497D28-526E-476D-AFB2-D818CA22B577}" destId="{7002CCBE-21D2-4CC1-92D0-DB50FC31FD4A}" srcOrd="0" destOrd="0" presId="urn:microsoft.com/office/officeart/2008/layout/NameandTitleOrganizationalChart"/>
    <dgm:cxn modelId="{895042FE-1B96-4081-8705-0D285C9A85C5}" type="presOf" srcId="{90C415DF-4292-4557-8538-AFF9795EFB0E}" destId="{3AD58E0A-D343-4930-8623-FCFFB87601B9}" srcOrd="1" destOrd="0" presId="urn:microsoft.com/office/officeart/2008/layout/NameandTitleOrganizationalChart"/>
    <dgm:cxn modelId="{C0ABA43F-883D-4690-AC37-DD0D2521EE81}" type="presParOf" srcId="{8CE38C69-EB96-4651-9B3E-53748AE5FC6C}" destId="{5C0A1056-0DED-45C9-8611-503BDAD206AC}" srcOrd="0" destOrd="0" presId="urn:microsoft.com/office/officeart/2008/layout/NameandTitleOrganizationalChart"/>
    <dgm:cxn modelId="{890064A7-971B-4436-B06A-A173F40C345C}" type="presParOf" srcId="{5C0A1056-0DED-45C9-8611-503BDAD206AC}" destId="{13F7DB04-BCA7-4FCC-8599-A18B09CE8B7F}" srcOrd="0" destOrd="0" presId="urn:microsoft.com/office/officeart/2008/layout/NameandTitleOrganizationalChart"/>
    <dgm:cxn modelId="{0AF8D71D-6DD8-4237-8A35-37CA1B806383}" type="presParOf" srcId="{13F7DB04-BCA7-4FCC-8599-A18B09CE8B7F}" destId="{EAECC0AD-5679-47BB-8159-686619419F49}" srcOrd="0" destOrd="0" presId="urn:microsoft.com/office/officeart/2008/layout/NameandTitleOrganizationalChart"/>
    <dgm:cxn modelId="{521E8252-8C73-4D6A-ABB4-DA33BF5F6ACC}" type="presParOf" srcId="{13F7DB04-BCA7-4FCC-8599-A18B09CE8B7F}" destId="{0FF21C90-A7FA-40DF-BAF1-07732493166F}" srcOrd="1" destOrd="0" presId="urn:microsoft.com/office/officeart/2008/layout/NameandTitleOrganizationalChart"/>
    <dgm:cxn modelId="{EFBFF28F-38FB-4E7C-9924-76517E0E0CA8}" type="presParOf" srcId="{13F7DB04-BCA7-4FCC-8599-A18B09CE8B7F}" destId="{6F1BA2B2-EE14-4CED-8F06-D878374E69F6}" srcOrd="2" destOrd="0" presId="urn:microsoft.com/office/officeart/2008/layout/NameandTitleOrganizationalChart"/>
    <dgm:cxn modelId="{11FF860E-022D-4F39-9C28-E707F1307CB8}" type="presParOf" srcId="{5C0A1056-0DED-45C9-8611-503BDAD206AC}" destId="{23E6FE94-17E2-4480-A6BD-921B2EF06F7A}" srcOrd="1" destOrd="0" presId="urn:microsoft.com/office/officeart/2008/layout/NameandTitleOrganizationalChart"/>
    <dgm:cxn modelId="{E0142A85-C35F-45B4-99EF-4DDFE9EAFA71}" type="presParOf" srcId="{23E6FE94-17E2-4480-A6BD-921B2EF06F7A}" destId="{0B9224BE-71E0-4F45-A79C-E181B98D93BE}" srcOrd="0" destOrd="0" presId="urn:microsoft.com/office/officeart/2008/layout/NameandTitleOrganizationalChart"/>
    <dgm:cxn modelId="{4FB532D5-B9F3-4FCB-BF48-C6153C7DB664}" type="presParOf" srcId="{23E6FE94-17E2-4480-A6BD-921B2EF06F7A}" destId="{C9F063B1-EA72-4429-B7A6-A71E4884C9F7}" srcOrd="1" destOrd="0" presId="urn:microsoft.com/office/officeart/2008/layout/NameandTitleOrganizationalChart"/>
    <dgm:cxn modelId="{E29974BA-D5A5-4494-B9C5-588D7296CFB6}" type="presParOf" srcId="{C9F063B1-EA72-4429-B7A6-A71E4884C9F7}" destId="{4844CC2B-9FE2-4DB3-B04A-4111FCFE52B2}" srcOrd="0" destOrd="0" presId="urn:microsoft.com/office/officeart/2008/layout/NameandTitleOrganizationalChart"/>
    <dgm:cxn modelId="{5A1812F4-6DDF-46A6-93AA-EF5E39AD9AF8}" type="presParOf" srcId="{4844CC2B-9FE2-4DB3-B04A-4111FCFE52B2}" destId="{F725E242-9FB8-4564-98BE-C2B511EDB45A}" srcOrd="0" destOrd="0" presId="urn:microsoft.com/office/officeart/2008/layout/NameandTitleOrganizationalChart"/>
    <dgm:cxn modelId="{F8623DC9-6F5A-4A25-9698-8BFD7850FB18}" type="presParOf" srcId="{4844CC2B-9FE2-4DB3-B04A-4111FCFE52B2}" destId="{16101845-A618-4356-91EB-A156721F3E34}" srcOrd="1" destOrd="0" presId="urn:microsoft.com/office/officeart/2008/layout/NameandTitleOrganizationalChart"/>
    <dgm:cxn modelId="{8CE1D02B-5371-49AF-B676-03BDB48E4099}" type="presParOf" srcId="{4844CC2B-9FE2-4DB3-B04A-4111FCFE52B2}" destId="{89F21B12-E21C-4AC7-AE16-DF5DDFF07D55}" srcOrd="2" destOrd="0" presId="urn:microsoft.com/office/officeart/2008/layout/NameandTitleOrganizationalChart"/>
    <dgm:cxn modelId="{36DFC508-7B96-467B-859C-726188E78C64}" type="presParOf" srcId="{C9F063B1-EA72-4429-B7A6-A71E4884C9F7}" destId="{9485BE15-DF5F-4EEC-BA14-9C6C094B6C3E}" srcOrd="1" destOrd="0" presId="urn:microsoft.com/office/officeart/2008/layout/NameandTitleOrganizationalChart"/>
    <dgm:cxn modelId="{49970944-C634-4B4A-9A18-6FAAE06C44F5}" type="presParOf" srcId="{C9F063B1-EA72-4429-B7A6-A71E4884C9F7}" destId="{EFB92109-CFE8-4C21-8EBE-1B4133F9BA05}" srcOrd="2" destOrd="0" presId="urn:microsoft.com/office/officeart/2008/layout/NameandTitleOrganizationalChart"/>
    <dgm:cxn modelId="{85642CEE-D94A-4784-A2D2-6394A1D1849F}" type="presParOf" srcId="{23E6FE94-17E2-4480-A6BD-921B2EF06F7A}" destId="{E3DB9741-7B59-4ADE-BF50-1A5B17A8CE3F}" srcOrd="2" destOrd="0" presId="urn:microsoft.com/office/officeart/2008/layout/NameandTitleOrganizationalChart"/>
    <dgm:cxn modelId="{C042284B-55C1-49E2-889D-38E1876599D6}" type="presParOf" srcId="{23E6FE94-17E2-4480-A6BD-921B2EF06F7A}" destId="{649D86F1-2884-4F38-88F7-DFD7795978EB}" srcOrd="3" destOrd="0" presId="urn:microsoft.com/office/officeart/2008/layout/NameandTitleOrganizationalChart"/>
    <dgm:cxn modelId="{013C4ECA-0392-4F3C-BA36-BBCB8B4EEF32}" type="presParOf" srcId="{649D86F1-2884-4F38-88F7-DFD7795978EB}" destId="{E4FB64C0-43FF-41AA-84C4-42D166F09BE6}" srcOrd="0" destOrd="0" presId="urn:microsoft.com/office/officeart/2008/layout/NameandTitleOrganizationalChart"/>
    <dgm:cxn modelId="{22BC89AD-D3A6-46C0-A0F3-702C83DE5758}" type="presParOf" srcId="{E4FB64C0-43FF-41AA-84C4-42D166F09BE6}" destId="{D36C0C50-F574-489F-9CF8-A189F70435B3}" srcOrd="0" destOrd="0" presId="urn:microsoft.com/office/officeart/2008/layout/NameandTitleOrganizationalChart"/>
    <dgm:cxn modelId="{559C02F5-56AE-4809-874F-539E8D44D22F}" type="presParOf" srcId="{E4FB64C0-43FF-41AA-84C4-42D166F09BE6}" destId="{84EE05FD-350F-4672-B015-8E706D408ED4}" srcOrd="1" destOrd="0" presId="urn:microsoft.com/office/officeart/2008/layout/NameandTitleOrganizationalChart"/>
    <dgm:cxn modelId="{1688DF34-9C8F-4D4C-A994-E82004BC6226}" type="presParOf" srcId="{E4FB64C0-43FF-41AA-84C4-42D166F09BE6}" destId="{3AD58E0A-D343-4930-8623-FCFFB87601B9}" srcOrd="2" destOrd="0" presId="urn:microsoft.com/office/officeart/2008/layout/NameandTitleOrganizationalChart"/>
    <dgm:cxn modelId="{BAF9B306-F1F0-4A12-800A-33ACA3AB8AE6}" type="presParOf" srcId="{649D86F1-2884-4F38-88F7-DFD7795978EB}" destId="{61C2CA64-FA94-4903-B23C-4DCD560C7F3A}" srcOrd="1" destOrd="0" presId="urn:microsoft.com/office/officeart/2008/layout/NameandTitleOrganizationalChart"/>
    <dgm:cxn modelId="{C7DCA022-BC15-46CE-8753-A1F96491BEE4}" type="presParOf" srcId="{649D86F1-2884-4F38-88F7-DFD7795978EB}" destId="{4636A3EF-4080-496F-8A74-5D55D2B51F7C}" srcOrd="2" destOrd="0" presId="urn:microsoft.com/office/officeart/2008/layout/NameandTitleOrganizationalChart"/>
    <dgm:cxn modelId="{3FDD1E74-E904-4CA4-BB6E-39577D8B00EB}" type="presParOf" srcId="{23E6FE94-17E2-4480-A6BD-921B2EF06F7A}" destId="{F9BEC2C4-B325-41BE-B6A3-32A403AC7170}" srcOrd="4" destOrd="0" presId="urn:microsoft.com/office/officeart/2008/layout/NameandTitleOrganizationalChart"/>
    <dgm:cxn modelId="{3F06F2E7-DB67-420B-980F-A88A07D00EEC}" type="presParOf" srcId="{23E6FE94-17E2-4480-A6BD-921B2EF06F7A}" destId="{0EBE191A-BCC0-401D-BECB-9B6D07FC1A91}" srcOrd="5" destOrd="0" presId="urn:microsoft.com/office/officeart/2008/layout/NameandTitleOrganizationalChart"/>
    <dgm:cxn modelId="{3EDF132F-FDF1-4EBE-ADEE-CCCEF4BC1626}" type="presParOf" srcId="{0EBE191A-BCC0-401D-BECB-9B6D07FC1A91}" destId="{D7BE2512-4030-456D-91E0-F62DAFC4D89C}" srcOrd="0" destOrd="0" presId="urn:microsoft.com/office/officeart/2008/layout/NameandTitleOrganizationalChart"/>
    <dgm:cxn modelId="{0DABE9CF-5335-4551-B28E-4C5DD571B57B}" type="presParOf" srcId="{D7BE2512-4030-456D-91E0-F62DAFC4D89C}" destId="{7002CCBE-21D2-4CC1-92D0-DB50FC31FD4A}" srcOrd="0" destOrd="0" presId="urn:microsoft.com/office/officeart/2008/layout/NameandTitleOrganizationalChart"/>
    <dgm:cxn modelId="{C682E368-56DB-4B79-B9E4-C0BB3D4B809F}" type="presParOf" srcId="{D7BE2512-4030-456D-91E0-F62DAFC4D89C}" destId="{5A577F11-7776-4E5E-8CA0-1333284000E6}" srcOrd="1" destOrd="0" presId="urn:microsoft.com/office/officeart/2008/layout/NameandTitleOrganizationalChart"/>
    <dgm:cxn modelId="{19804F5F-B69D-4D2F-B46B-1DA5A2A33D2A}" type="presParOf" srcId="{D7BE2512-4030-456D-91E0-F62DAFC4D89C}" destId="{CE4CFDFE-C34D-4930-8D16-6B81D6037A5A}" srcOrd="2" destOrd="0" presId="urn:microsoft.com/office/officeart/2008/layout/NameandTitleOrganizationalChart"/>
    <dgm:cxn modelId="{FA1A0C0E-EED1-432B-90FE-9E3A78402805}" type="presParOf" srcId="{0EBE191A-BCC0-401D-BECB-9B6D07FC1A91}" destId="{0D9C0CFE-617C-441E-8C3A-B86499D022B5}" srcOrd="1" destOrd="0" presId="urn:microsoft.com/office/officeart/2008/layout/NameandTitleOrganizationalChart"/>
    <dgm:cxn modelId="{E4A56AA2-68E1-4A9C-8847-3F16227C505B}" type="presParOf" srcId="{0EBE191A-BCC0-401D-BECB-9B6D07FC1A91}" destId="{31E2F1CB-4589-434C-B0D1-7709CCBE6D3A}" srcOrd="2" destOrd="0" presId="urn:microsoft.com/office/officeart/2008/layout/NameandTitleOrganizationalChart"/>
    <dgm:cxn modelId="{88518A25-93AE-468F-B0E7-EBCB8A63FD98}" type="presParOf" srcId="{23E6FE94-17E2-4480-A6BD-921B2EF06F7A}" destId="{4C3C4242-E156-4DA9-8F7B-1117E238912B}" srcOrd="6" destOrd="0" presId="urn:microsoft.com/office/officeart/2008/layout/NameandTitleOrganizationalChart"/>
    <dgm:cxn modelId="{29E11E77-6844-4D05-BBAD-65BDD2F551C2}" type="presParOf" srcId="{23E6FE94-17E2-4480-A6BD-921B2EF06F7A}" destId="{50AA122D-E4FC-47D8-B2AA-3443FA24880C}" srcOrd="7" destOrd="0" presId="urn:microsoft.com/office/officeart/2008/layout/NameandTitleOrganizationalChart"/>
    <dgm:cxn modelId="{F7F9EC02-7978-435B-91AC-92374179919F}" type="presParOf" srcId="{50AA122D-E4FC-47D8-B2AA-3443FA24880C}" destId="{6B0F156B-44CA-486C-B95A-D2F88A82504B}" srcOrd="0" destOrd="0" presId="urn:microsoft.com/office/officeart/2008/layout/NameandTitleOrganizationalChart"/>
    <dgm:cxn modelId="{A08A55BB-BBE5-4134-9DC8-1821101249B7}" type="presParOf" srcId="{6B0F156B-44CA-486C-B95A-D2F88A82504B}" destId="{F7FC3F3F-D80F-42DE-9DA1-223FFE0E12C5}" srcOrd="0" destOrd="0" presId="urn:microsoft.com/office/officeart/2008/layout/NameandTitleOrganizationalChart"/>
    <dgm:cxn modelId="{700FEFA5-57E9-4088-98DE-05B2555061FC}" type="presParOf" srcId="{6B0F156B-44CA-486C-B95A-D2F88A82504B}" destId="{BFDC359B-BA27-41CE-BC14-D48F6F75CB90}" srcOrd="1" destOrd="0" presId="urn:microsoft.com/office/officeart/2008/layout/NameandTitleOrganizationalChart"/>
    <dgm:cxn modelId="{74C892A7-BA7B-46E6-9574-4E6A30D0A287}" type="presParOf" srcId="{6B0F156B-44CA-486C-B95A-D2F88A82504B}" destId="{FA887ADB-C257-4E88-ABB4-DD690C188154}" srcOrd="2" destOrd="0" presId="urn:microsoft.com/office/officeart/2008/layout/NameandTitleOrganizationalChart"/>
    <dgm:cxn modelId="{34D69A43-9C42-45D4-BE3A-5E55EBAF0670}" type="presParOf" srcId="{50AA122D-E4FC-47D8-B2AA-3443FA24880C}" destId="{D2456BAF-B3DD-4685-B549-D4B8C514AC5A}" srcOrd="1" destOrd="0" presId="urn:microsoft.com/office/officeart/2008/layout/NameandTitleOrganizationalChart"/>
    <dgm:cxn modelId="{312D537D-3770-4CEA-BCF1-B53647AFF17E}" type="presParOf" srcId="{50AA122D-E4FC-47D8-B2AA-3443FA24880C}" destId="{6BE9D03F-63B4-4C2C-9609-718C55E340C7}" srcOrd="2" destOrd="0" presId="urn:microsoft.com/office/officeart/2008/layout/NameandTitleOrganizationalChart"/>
    <dgm:cxn modelId="{ADD5B142-3F38-403E-A410-F366D9EA9385}" type="presParOf" srcId="{5C0A1056-0DED-45C9-8611-503BDAD206AC}" destId="{4589BD91-A8BC-409F-8DB6-0E924BF135F8}" srcOrd="2" destOrd="0" presId="urn:microsoft.com/office/officeart/2008/layout/NameandTitleOrganizationalChart"/>
    <dgm:cxn modelId="{4CE24809-0533-4203-A326-2969F1ED8E0A}" type="presParOf" srcId="{4589BD91-A8BC-409F-8DB6-0E924BF135F8}" destId="{A48FCEFC-028A-48C7-9D12-4E5D98C5E42C}" srcOrd="0" destOrd="0" presId="urn:microsoft.com/office/officeart/2008/layout/NameandTitleOrganizationalChart"/>
    <dgm:cxn modelId="{DC4CF8BC-FF23-45C8-8C77-7DD16E2B2BA5}" type="presParOf" srcId="{4589BD91-A8BC-409F-8DB6-0E924BF135F8}" destId="{9F4D3127-E622-4A76-A4C2-87B035A87A5B}" srcOrd="1" destOrd="0" presId="urn:microsoft.com/office/officeart/2008/layout/NameandTitleOrganizationalChart"/>
    <dgm:cxn modelId="{6321CD43-D12C-4A6B-BE58-2917ABEDC9B9}" type="presParOf" srcId="{9F4D3127-E622-4A76-A4C2-87B035A87A5B}" destId="{C924E4BE-1F86-4825-86A1-CF87C374B661}" srcOrd="0" destOrd="0" presId="urn:microsoft.com/office/officeart/2008/layout/NameandTitleOrganizationalChart"/>
    <dgm:cxn modelId="{691BEE3B-D9DB-4912-910E-4E46BDAAEC7A}" type="presParOf" srcId="{C924E4BE-1F86-4825-86A1-CF87C374B661}" destId="{5A99F425-1EA9-4A3E-B2C9-D0FA38928DB8}" srcOrd="0" destOrd="0" presId="urn:microsoft.com/office/officeart/2008/layout/NameandTitleOrganizationalChart"/>
    <dgm:cxn modelId="{E7B1B91D-99E3-41A3-875E-1FDABB9A8E1A}" type="presParOf" srcId="{C924E4BE-1F86-4825-86A1-CF87C374B661}" destId="{1D06D778-9725-49BB-8FC5-325057DE3AC3}" srcOrd="1" destOrd="0" presId="urn:microsoft.com/office/officeart/2008/layout/NameandTitleOrganizationalChart"/>
    <dgm:cxn modelId="{1BED1772-25F1-4996-996E-FDA6983F7FB7}" type="presParOf" srcId="{C924E4BE-1F86-4825-86A1-CF87C374B661}" destId="{584335BF-5C22-4DF3-95F8-49D99453D133}" srcOrd="2" destOrd="0" presId="urn:microsoft.com/office/officeart/2008/layout/NameandTitleOrganizationalChart"/>
    <dgm:cxn modelId="{FD10DD20-E24A-439E-89F4-6C45CC114982}" type="presParOf" srcId="{9F4D3127-E622-4A76-A4C2-87B035A87A5B}" destId="{EB1AADDB-BFF4-4893-B873-B53F8103F396}" srcOrd="1" destOrd="0" presId="urn:microsoft.com/office/officeart/2008/layout/NameandTitleOrganizationalChart"/>
    <dgm:cxn modelId="{772E36E3-2DB7-4B05-B6BA-A3D72016AFB1}" type="presParOf" srcId="{9F4D3127-E622-4A76-A4C2-87B035A87A5B}" destId="{932A161D-DB7A-426C-96BB-FF132F0FEF71}" srcOrd="2" destOrd="0" presId="urn:microsoft.com/office/officeart/2008/layout/NameandTitleOrganizationalChart"/>
    <dgm:cxn modelId="{15AA1496-C51F-4A29-9353-6E657BD81342}" type="presParOf" srcId="{4589BD91-A8BC-409F-8DB6-0E924BF135F8}" destId="{49610F70-20BB-4FAD-BFEB-5C11A797390E}" srcOrd="2" destOrd="0" presId="urn:microsoft.com/office/officeart/2008/layout/NameandTitleOrganizationalChart"/>
    <dgm:cxn modelId="{DB287F45-6C11-43F1-9E73-57F3D9C1A13B}" type="presParOf" srcId="{4589BD91-A8BC-409F-8DB6-0E924BF135F8}" destId="{ED352DCB-225A-442F-BCA2-B00883A722F3}" srcOrd="3" destOrd="0" presId="urn:microsoft.com/office/officeart/2008/layout/NameandTitleOrganizationalChart"/>
    <dgm:cxn modelId="{039BB6CE-65AB-4436-9E19-B30BD7A245C8}" type="presParOf" srcId="{ED352DCB-225A-442F-BCA2-B00883A722F3}" destId="{B28821D3-5AAA-449A-B718-42101423A5D4}" srcOrd="0" destOrd="0" presId="urn:microsoft.com/office/officeart/2008/layout/NameandTitleOrganizationalChart"/>
    <dgm:cxn modelId="{3470CE79-C49E-4AE3-9B3D-429474422481}" type="presParOf" srcId="{B28821D3-5AAA-449A-B718-42101423A5D4}" destId="{13D0C237-A8B2-43D0-AD6E-1742C4806465}" srcOrd="0" destOrd="0" presId="urn:microsoft.com/office/officeart/2008/layout/NameandTitleOrganizationalChart"/>
    <dgm:cxn modelId="{B34C36A9-B1FE-4F5E-BEAC-7C3C8351E434}" type="presParOf" srcId="{B28821D3-5AAA-449A-B718-42101423A5D4}" destId="{8CB5E423-F550-4019-871F-B5E118A5177B}" srcOrd="1" destOrd="0" presId="urn:microsoft.com/office/officeart/2008/layout/NameandTitleOrganizationalChart"/>
    <dgm:cxn modelId="{027B4A4B-0E4F-45C6-A367-0213B9A7BB7C}" type="presParOf" srcId="{B28821D3-5AAA-449A-B718-42101423A5D4}" destId="{6693B9FA-0720-479F-9EC7-5974E73AC4A1}" srcOrd="2" destOrd="0" presId="urn:microsoft.com/office/officeart/2008/layout/NameandTitleOrganizationalChart"/>
    <dgm:cxn modelId="{80431FAA-5BF4-46A0-A92F-7333A471C296}" type="presParOf" srcId="{ED352DCB-225A-442F-BCA2-B00883A722F3}" destId="{67B6CE64-379A-4969-BF72-A20AE4884472}" srcOrd="1" destOrd="0" presId="urn:microsoft.com/office/officeart/2008/layout/NameandTitleOrganizationalChart"/>
    <dgm:cxn modelId="{1AB78E46-4507-48F5-97E2-3EFD90475522}" type="presParOf" srcId="{ED352DCB-225A-442F-BCA2-B00883A722F3}" destId="{76356E38-7239-43F3-B7B9-DF121D87C946}" srcOrd="2" destOrd="0" presId="urn:microsoft.com/office/officeart/2008/layout/NameandTitleOrganizationalChar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62918C6-6303-4F05-A688-FD45E5469573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96FF54F7-6569-4BE4-B8BC-5FF58243CBE2}">
      <dgm:prSet phldrT="[Tekst]" custT="1"/>
      <dgm:spPr>
        <a:solidFill>
          <a:srgbClr val="FF0000"/>
        </a:solidFill>
      </dgm:spPr>
      <dgm:t>
        <a:bodyPr/>
        <a:lstStyle/>
        <a:p>
          <a:r>
            <a:rPr lang="pl-PL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Wypadki śmiertelne</a:t>
          </a:r>
        </a:p>
      </dgm:t>
    </dgm:pt>
    <dgm:pt modelId="{2B0108F6-968A-4055-91CE-7BBD2374D53B}" type="parTrans" cxnId="{5D8F3478-885A-4BF5-BFF9-6531D6659855}">
      <dgm:prSet/>
      <dgm:spPr/>
      <dgm:t>
        <a:bodyPr/>
        <a:lstStyle/>
        <a:p>
          <a:endParaRPr lang="pl-PL"/>
        </a:p>
      </dgm:t>
    </dgm:pt>
    <dgm:pt modelId="{65F58072-7DA1-4C50-807C-2D2D34CCBBE7}" type="sibTrans" cxnId="{5D8F3478-885A-4BF5-BFF9-6531D6659855}">
      <dgm:prSet/>
      <dgm:spPr/>
      <dgm:t>
        <a:bodyPr/>
        <a:lstStyle/>
        <a:p>
          <a:endParaRPr lang="pl-PL"/>
        </a:p>
      </dgm:t>
    </dgm:pt>
    <dgm:pt modelId="{CE9CBED5-91E4-4234-BE4B-7675226748FB}">
      <dgm:prSet phldrT="[Tekst]" custT="1"/>
      <dgm:spPr>
        <a:solidFill>
          <a:srgbClr val="00B050"/>
        </a:solidFill>
      </dgm:spPr>
      <dgm:t>
        <a:bodyPr/>
        <a:lstStyle/>
        <a:p>
          <a:r>
            <a:rPr lang="pl-PL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Obserwacje</a:t>
          </a:r>
        </a:p>
      </dgm:t>
    </dgm:pt>
    <dgm:pt modelId="{2254BBBE-2A7C-4843-BA4F-5DB95255A4D4}" type="parTrans" cxnId="{55BC9A9D-0DF6-4C15-B7B9-0406B0C577FE}">
      <dgm:prSet/>
      <dgm:spPr/>
      <dgm:t>
        <a:bodyPr/>
        <a:lstStyle/>
        <a:p>
          <a:endParaRPr lang="pl-PL"/>
        </a:p>
      </dgm:t>
    </dgm:pt>
    <dgm:pt modelId="{7153A0BE-59F5-41C5-8C0D-4F304FE6964C}" type="sibTrans" cxnId="{55BC9A9D-0DF6-4C15-B7B9-0406B0C577FE}">
      <dgm:prSet/>
      <dgm:spPr/>
      <dgm:t>
        <a:bodyPr/>
        <a:lstStyle/>
        <a:p>
          <a:endParaRPr lang="pl-PL"/>
        </a:p>
      </dgm:t>
    </dgm:pt>
    <dgm:pt modelId="{166A6248-3A1A-4DBF-8EB3-7493D840BA79}">
      <dgm:prSet custT="1"/>
      <dgm:spPr>
        <a:solidFill>
          <a:srgbClr val="FFC000"/>
        </a:solidFill>
      </dgm:spPr>
      <dgm:t>
        <a:bodyPr/>
        <a:lstStyle/>
        <a:p>
          <a:r>
            <a:rPr lang="pl-PL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Wypadki</a:t>
          </a:r>
        </a:p>
      </dgm:t>
    </dgm:pt>
    <dgm:pt modelId="{68EB77FF-1ED1-41D6-ACDE-BE481AE30584}" type="parTrans" cxnId="{1C21F810-5DC1-4258-9A1E-153DFF670BA7}">
      <dgm:prSet/>
      <dgm:spPr/>
      <dgm:t>
        <a:bodyPr/>
        <a:lstStyle/>
        <a:p>
          <a:endParaRPr lang="pl-PL"/>
        </a:p>
      </dgm:t>
    </dgm:pt>
    <dgm:pt modelId="{F2CDBE7E-A2C9-4E4F-8D2E-D5FBB6020C77}" type="sibTrans" cxnId="{1C21F810-5DC1-4258-9A1E-153DFF670BA7}">
      <dgm:prSet/>
      <dgm:spPr/>
      <dgm:t>
        <a:bodyPr/>
        <a:lstStyle/>
        <a:p>
          <a:endParaRPr lang="pl-PL"/>
        </a:p>
      </dgm:t>
    </dgm:pt>
    <dgm:pt modelId="{39023288-977B-4CE3-945C-897D63552683}">
      <dgm:prSet custT="1"/>
      <dgm:spPr>
        <a:solidFill>
          <a:srgbClr val="FFFF00"/>
        </a:solidFill>
      </dgm:spPr>
      <dgm:t>
        <a:bodyPr/>
        <a:lstStyle/>
        <a:p>
          <a:r>
            <a:rPr lang="pl-PL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Poważne incydenty</a:t>
          </a:r>
        </a:p>
      </dgm:t>
    </dgm:pt>
    <dgm:pt modelId="{D2DB92AF-E37A-469C-BAD9-5CE41197A39B}" type="parTrans" cxnId="{245BDD9C-AA77-4194-954D-E566B955F8B1}">
      <dgm:prSet/>
      <dgm:spPr/>
      <dgm:t>
        <a:bodyPr/>
        <a:lstStyle/>
        <a:p>
          <a:endParaRPr lang="pl-PL"/>
        </a:p>
      </dgm:t>
    </dgm:pt>
    <dgm:pt modelId="{273E63D9-0793-402D-9306-3FEE5855ECA2}" type="sibTrans" cxnId="{245BDD9C-AA77-4194-954D-E566B955F8B1}">
      <dgm:prSet/>
      <dgm:spPr/>
      <dgm:t>
        <a:bodyPr/>
        <a:lstStyle/>
        <a:p>
          <a:endParaRPr lang="pl-PL"/>
        </a:p>
      </dgm:t>
    </dgm:pt>
    <dgm:pt modelId="{DE6F85E2-DE0D-42B8-B0A3-63F00D9A37E2}">
      <dgm:prSet custT="1"/>
      <dgm:spPr>
        <a:solidFill>
          <a:schemeClr val="accent4">
            <a:lumMod val="20000"/>
            <a:lumOff val="80000"/>
          </a:schemeClr>
        </a:solidFill>
      </dgm:spPr>
      <dgm:t>
        <a:bodyPr/>
        <a:lstStyle/>
        <a:p>
          <a:r>
            <a:rPr lang="pl-PL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Małe incydenty / pierwsza pomoc</a:t>
          </a:r>
        </a:p>
      </dgm:t>
    </dgm:pt>
    <dgm:pt modelId="{5DA9346A-D216-421D-93A9-5EFA0EF6D2FE}" type="parTrans" cxnId="{51B0C528-891D-4FF5-99E3-91DECBB57AFF}">
      <dgm:prSet/>
      <dgm:spPr/>
      <dgm:t>
        <a:bodyPr/>
        <a:lstStyle/>
        <a:p>
          <a:endParaRPr lang="pl-PL"/>
        </a:p>
      </dgm:t>
    </dgm:pt>
    <dgm:pt modelId="{4911BDB4-00EC-4D1A-B1E7-B447B55D5CA2}" type="sibTrans" cxnId="{51B0C528-891D-4FF5-99E3-91DECBB57AFF}">
      <dgm:prSet/>
      <dgm:spPr/>
      <dgm:t>
        <a:bodyPr/>
        <a:lstStyle/>
        <a:p>
          <a:endParaRPr lang="pl-PL"/>
        </a:p>
      </dgm:t>
    </dgm:pt>
    <dgm:pt modelId="{E213B663-D3A6-49FB-9543-B2EF5E6ABF3D}" type="pres">
      <dgm:prSet presAssocID="{362918C6-6303-4F05-A688-FD45E5469573}" presName="Name0" presStyleCnt="0">
        <dgm:presLayoutVars>
          <dgm:dir/>
          <dgm:animLvl val="lvl"/>
          <dgm:resizeHandles val="exact"/>
        </dgm:presLayoutVars>
      </dgm:prSet>
      <dgm:spPr/>
    </dgm:pt>
    <dgm:pt modelId="{BB70CC0D-FCE2-43E9-B9A7-23E70226A621}" type="pres">
      <dgm:prSet presAssocID="{96FF54F7-6569-4BE4-B8BC-5FF58243CBE2}" presName="Name8" presStyleCnt="0"/>
      <dgm:spPr/>
    </dgm:pt>
    <dgm:pt modelId="{CD0ED154-BF6D-4E9E-864C-2516204995BC}" type="pres">
      <dgm:prSet presAssocID="{96FF54F7-6569-4BE4-B8BC-5FF58243CBE2}" presName="level" presStyleLbl="node1" presStyleIdx="0" presStyleCnt="5">
        <dgm:presLayoutVars>
          <dgm:chMax val="1"/>
          <dgm:bulletEnabled val="1"/>
        </dgm:presLayoutVars>
      </dgm:prSet>
      <dgm:spPr/>
    </dgm:pt>
    <dgm:pt modelId="{6879D428-59B1-4AD7-A678-AE5535DE551F}" type="pres">
      <dgm:prSet presAssocID="{96FF54F7-6569-4BE4-B8BC-5FF58243CBE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3C53269-E05B-4090-905C-CEE3448EDD44}" type="pres">
      <dgm:prSet presAssocID="{166A6248-3A1A-4DBF-8EB3-7493D840BA79}" presName="Name8" presStyleCnt="0"/>
      <dgm:spPr/>
    </dgm:pt>
    <dgm:pt modelId="{56E385A8-8B78-49E4-B44A-DBE313A3ED74}" type="pres">
      <dgm:prSet presAssocID="{166A6248-3A1A-4DBF-8EB3-7493D840BA79}" presName="level" presStyleLbl="node1" presStyleIdx="1" presStyleCnt="5">
        <dgm:presLayoutVars>
          <dgm:chMax val="1"/>
          <dgm:bulletEnabled val="1"/>
        </dgm:presLayoutVars>
      </dgm:prSet>
      <dgm:spPr/>
    </dgm:pt>
    <dgm:pt modelId="{C93B3DAF-D0F9-42E9-9BEC-77F5FAB997D7}" type="pres">
      <dgm:prSet presAssocID="{166A6248-3A1A-4DBF-8EB3-7493D840BA79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7F4F5CD-A8C1-4142-8569-7BE0EE7CB7BB}" type="pres">
      <dgm:prSet presAssocID="{39023288-977B-4CE3-945C-897D63552683}" presName="Name8" presStyleCnt="0"/>
      <dgm:spPr/>
    </dgm:pt>
    <dgm:pt modelId="{5D37ED0B-33C5-4205-998D-F4140755BAAC}" type="pres">
      <dgm:prSet presAssocID="{39023288-977B-4CE3-945C-897D63552683}" presName="level" presStyleLbl="node1" presStyleIdx="2" presStyleCnt="5">
        <dgm:presLayoutVars>
          <dgm:chMax val="1"/>
          <dgm:bulletEnabled val="1"/>
        </dgm:presLayoutVars>
      </dgm:prSet>
      <dgm:spPr/>
    </dgm:pt>
    <dgm:pt modelId="{3C19085F-890A-469F-9E46-9DE7D6445541}" type="pres">
      <dgm:prSet presAssocID="{39023288-977B-4CE3-945C-897D63552683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F07340F-0533-4837-8770-848CCB8AD348}" type="pres">
      <dgm:prSet presAssocID="{DE6F85E2-DE0D-42B8-B0A3-63F00D9A37E2}" presName="Name8" presStyleCnt="0"/>
      <dgm:spPr/>
    </dgm:pt>
    <dgm:pt modelId="{1CA79F52-2D6D-437C-A5AF-7E09A2AE096B}" type="pres">
      <dgm:prSet presAssocID="{DE6F85E2-DE0D-42B8-B0A3-63F00D9A37E2}" presName="level" presStyleLbl="node1" presStyleIdx="3" presStyleCnt="5">
        <dgm:presLayoutVars>
          <dgm:chMax val="1"/>
          <dgm:bulletEnabled val="1"/>
        </dgm:presLayoutVars>
      </dgm:prSet>
      <dgm:spPr/>
    </dgm:pt>
    <dgm:pt modelId="{9F121690-0A83-43AD-BAFB-4F91C681A70D}" type="pres">
      <dgm:prSet presAssocID="{DE6F85E2-DE0D-42B8-B0A3-63F00D9A37E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2048084B-8597-4D17-B0C0-9B43FCC17A91}" type="pres">
      <dgm:prSet presAssocID="{CE9CBED5-91E4-4234-BE4B-7675226748FB}" presName="Name8" presStyleCnt="0"/>
      <dgm:spPr/>
    </dgm:pt>
    <dgm:pt modelId="{4E15CFAE-4283-4799-9AAF-94D2CFA82576}" type="pres">
      <dgm:prSet presAssocID="{CE9CBED5-91E4-4234-BE4B-7675226748FB}" presName="level" presStyleLbl="node1" presStyleIdx="4" presStyleCnt="5">
        <dgm:presLayoutVars>
          <dgm:chMax val="1"/>
          <dgm:bulletEnabled val="1"/>
        </dgm:presLayoutVars>
      </dgm:prSet>
      <dgm:spPr/>
    </dgm:pt>
    <dgm:pt modelId="{E69C1E6E-CABA-48A8-9241-1DCBE21168EB}" type="pres">
      <dgm:prSet presAssocID="{CE9CBED5-91E4-4234-BE4B-7675226748FB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1C21F810-5DC1-4258-9A1E-153DFF670BA7}" srcId="{362918C6-6303-4F05-A688-FD45E5469573}" destId="{166A6248-3A1A-4DBF-8EB3-7493D840BA79}" srcOrd="1" destOrd="0" parTransId="{68EB77FF-1ED1-41D6-ACDE-BE481AE30584}" sibTransId="{F2CDBE7E-A2C9-4E4F-8D2E-D5FBB6020C77}"/>
    <dgm:cxn modelId="{51B0C528-891D-4FF5-99E3-91DECBB57AFF}" srcId="{362918C6-6303-4F05-A688-FD45E5469573}" destId="{DE6F85E2-DE0D-42B8-B0A3-63F00D9A37E2}" srcOrd="3" destOrd="0" parTransId="{5DA9346A-D216-421D-93A9-5EFA0EF6D2FE}" sibTransId="{4911BDB4-00EC-4D1A-B1E7-B447B55D5CA2}"/>
    <dgm:cxn modelId="{AFFF1F2B-8439-4476-A202-5CABEA8D5491}" type="presOf" srcId="{39023288-977B-4CE3-945C-897D63552683}" destId="{3C19085F-890A-469F-9E46-9DE7D6445541}" srcOrd="1" destOrd="0" presId="urn:microsoft.com/office/officeart/2005/8/layout/pyramid1"/>
    <dgm:cxn modelId="{149E3C2D-955B-4083-82A8-94A74FDC484D}" type="presOf" srcId="{DE6F85E2-DE0D-42B8-B0A3-63F00D9A37E2}" destId="{9F121690-0A83-43AD-BAFB-4F91C681A70D}" srcOrd="1" destOrd="0" presId="urn:microsoft.com/office/officeart/2005/8/layout/pyramid1"/>
    <dgm:cxn modelId="{00A8304E-F17A-443A-9545-8FAD48C5AC48}" type="presOf" srcId="{39023288-977B-4CE3-945C-897D63552683}" destId="{5D37ED0B-33C5-4205-998D-F4140755BAAC}" srcOrd="0" destOrd="0" presId="urn:microsoft.com/office/officeart/2005/8/layout/pyramid1"/>
    <dgm:cxn modelId="{FA77A34E-FBCE-4936-ABEE-F56BD84EDBFE}" type="presOf" srcId="{96FF54F7-6569-4BE4-B8BC-5FF58243CBE2}" destId="{6879D428-59B1-4AD7-A678-AE5535DE551F}" srcOrd="1" destOrd="0" presId="urn:microsoft.com/office/officeart/2005/8/layout/pyramid1"/>
    <dgm:cxn modelId="{548BD870-1891-459C-A35C-779FC98EA8DD}" type="presOf" srcId="{CE9CBED5-91E4-4234-BE4B-7675226748FB}" destId="{E69C1E6E-CABA-48A8-9241-1DCBE21168EB}" srcOrd="1" destOrd="0" presId="urn:microsoft.com/office/officeart/2005/8/layout/pyramid1"/>
    <dgm:cxn modelId="{5D8F3478-885A-4BF5-BFF9-6531D6659855}" srcId="{362918C6-6303-4F05-A688-FD45E5469573}" destId="{96FF54F7-6569-4BE4-B8BC-5FF58243CBE2}" srcOrd="0" destOrd="0" parTransId="{2B0108F6-968A-4055-91CE-7BBD2374D53B}" sibTransId="{65F58072-7DA1-4C50-807C-2D2D34CCBBE7}"/>
    <dgm:cxn modelId="{C0A20D99-6FB2-4C57-87D2-D4A92CA184FF}" type="presOf" srcId="{96FF54F7-6569-4BE4-B8BC-5FF58243CBE2}" destId="{CD0ED154-BF6D-4E9E-864C-2516204995BC}" srcOrd="0" destOrd="0" presId="urn:microsoft.com/office/officeart/2005/8/layout/pyramid1"/>
    <dgm:cxn modelId="{245BDD9C-AA77-4194-954D-E566B955F8B1}" srcId="{362918C6-6303-4F05-A688-FD45E5469573}" destId="{39023288-977B-4CE3-945C-897D63552683}" srcOrd="2" destOrd="0" parTransId="{D2DB92AF-E37A-469C-BAD9-5CE41197A39B}" sibTransId="{273E63D9-0793-402D-9306-3FEE5855ECA2}"/>
    <dgm:cxn modelId="{55BC9A9D-0DF6-4C15-B7B9-0406B0C577FE}" srcId="{362918C6-6303-4F05-A688-FD45E5469573}" destId="{CE9CBED5-91E4-4234-BE4B-7675226748FB}" srcOrd="4" destOrd="0" parTransId="{2254BBBE-2A7C-4843-BA4F-5DB95255A4D4}" sibTransId="{7153A0BE-59F5-41C5-8C0D-4F304FE6964C}"/>
    <dgm:cxn modelId="{1331959E-9A91-4867-AD20-2FC64FD6AD42}" type="presOf" srcId="{166A6248-3A1A-4DBF-8EB3-7493D840BA79}" destId="{C93B3DAF-D0F9-42E9-9BEC-77F5FAB997D7}" srcOrd="1" destOrd="0" presId="urn:microsoft.com/office/officeart/2005/8/layout/pyramid1"/>
    <dgm:cxn modelId="{8ACA95C3-D2B5-48FF-8A0A-5FEFB3DF6032}" type="presOf" srcId="{CE9CBED5-91E4-4234-BE4B-7675226748FB}" destId="{4E15CFAE-4283-4799-9AAF-94D2CFA82576}" srcOrd="0" destOrd="0" presId="urn:microsoft.com/office/officeart/2005/8/layout/pyramid1"/>
    <dgm:cxn modelId="{CC0E6AD1-D1A4-446F-BB44-5E2D66CFE959}" type="presOf" srcId="{166A6248-3A1A-4DBF-8EB3-7493D840BA79}" destId="{56E385A8-8B78-49E4-B44A-DBE313A3ED74}" srcOrd="0" destOrd="0" presId="urn:microsoft.com/office/officeart/2005/8/layout/pyramid1"/>
    <dgm:cxn modelId="{50BA1AFD-35D9-42BB-AEEB-CCB29FACEE0C}" type="presOf" srcId="{362918C6-6303-4F05-A688-FD45E5469573}" destId="{E213B663-D3A6-49FB-9543-B2EF5E6ABF3D}" srcOrd="0" destOrd="0" presId="urn:microsoft.com/office/officeart/2005/8/layout/pyramid1"/>
    <dgm:cxn modelId="{E18E27FE-E51D-4609-8400-D05C6F3D16D2}" type="presOf" srcId="{DE6F85E2-DE0D-42B8-B0A3-63F00D9A37E2}" destId="{1CA79F52-2D6D-437C-A5AF-7E09A2AE096B}" srcOrd="0" destOrd="0" presId="urn:microsoft.com/office/officeart/2005/8/layout/pyramid1"/>
    <dgm:cxn modelId="{DE89FAE1-F293-46D7-8D86-1405954EBAFF}" type="presParOf" srcId="{E213B663-D3A6-49FB-9543-B2EF5E6ABF3D}" destId="{BB70CC0D-FCE2-43E9-B9A7-23E70226A621}" srcOrd="0" destOrd="0" presId="urn:microsoft.com/office/officeart/2005/8/layout/pyramid1"/>
    <dgm:cxn modelId="{82BC0B14-5E99-4EE8-950A-3CB845DD0580}" type="presParOf" srcId="{BB70CC0D-FCE2-43E9-B9A7-23E70226A621}" destId="{CD0ED154-BF6D-4E9E-864C-2516204995BC}" srcOrd="0" destOrd="0" presId="urn:microsoft.com/office/officeart/2005/8/layout/pyramid1"/>
    <dgm:cxn modelId="{9740B023-D999-4B7C-823C-BD6936A9B394}" type="presParOf" srcId="{BB70CC0D-FCE2-43E9-B9A7-23E70226A621}" destId="{6879D428-59B1-4AD7-A678-AE5535DE551F}" srcOrd="1" destOrd="0" presId="urn:microsoft.com/office/officeart/2005/8/layout/pyramid1"/>
    <dgm:cxn modelId="{1F8D15B8-5F32-4F79-B013-85F5C1CAFEC4}" type="presParOf" srcId="{E213B663-D3A6-49FB-9543-B2EF5E6ABF3D}" destId="{B3C53269-E05B-4090-905C-CEE3448EDD44}" srcOrd="1" destOrd="0" presId="urn:microsoft.com/office/officeart/2005/8/layout/pyramid1"/>
    <dgm:cxn modelId="{83966963-2E88-4E67-9900-1F13FAFB6ADB}" type="presParOf" srcId="{B3C53269-E05B-4090-905C-CEE3448EDD44}" destId="{56E385A8-8B78-49E4-B44A-DBE313A3ED74}" srcOrd="0" destOrd="0" presId="urn:microsoft.com/office/officeart/2005/8/layout/pyramid1"/>
    <dgm:cxn modelId="{FAD7C017-35AF-4C94-8F73-27B45B7B05DB}" type="presParOf" srcId="{B3C53269-E05B-4090-905C-CEE3448EDD44}" destId="{C93B3DAF-D0F9-42E9-9BEC-77F5FAB997D7}" srcOrd="1" destOrd="0" presId="urn:microsoft.com/office/officeart/2005/8/layout/pyramid1"/>
    <dgm:cxn modelId="{87EF2086-CC7E-40F3-B0F5-353463E09A28}" type="presParOf" srcId="{E213B663-D3A6-49FB-9543-B2EF5E6ABF3D}" destId="{77F4F5CD-A8C1-4142-8569-7BE0EE7CB7BB}" srcOrd="2" destOrd="0" presId="urn:microsoft.com/office/officeart/2005/8/layout/pyramid1"/>
    <dgm:cxn modelId="{B05E1EE9-CBDC-46B3-98C1-05168325A419}" type="presParOf" srcId="{77F4F5CD-A8C1-4142-8569-7BE0EE7CB7BB}" destId="{5D37ED0B-33C5-4205-998D-F4140755BAAC}" srcOrd="0" destOrd="0" presId="urn:microsoft.com/office/officeart/2005/8/layout/pyramid1"/>
    <dgm:cxn modelId="{D3EB5BAA-7C94-43AA-B857-D038DD9FE760}" type="presParOf" srcId="{77F4F5CD-A8C1-4142-8569-7BE0EE7CB7BB}" destId="{3C19085F-890A-469F-9E46-9DE7D6445541}" srcOrd="1" destOrd="0" presId="urn:microsoft.com/office/officeart/2005/8/layout/pyramid1"/>
    <dgm:cxn modelId="{B0692E36-7C7E-44D2-916A-9EA9C94A1B28}" type="presParOf" srcId="{E213B663-D3A6-49FB-9543-B2EF5E6ABF3D}" destId="{0F07340F-0533-4837-8770-848CCB8AD348}" srcOrd="3" destOrd="0" presId="urn:microsoft.com/office/officeart/2005/8/layout/pyramid1"/>
    <dgm:cxn modelId="{8427D21B-F8FA-4691-B02D-BDF70D22C249}" type="presParOf" srcId="{0F07340F-0533-4837-8770-848CCB8AD348}" destId="{1CA79F52-2D6D-437C-A5AF-7E09A2AE096B}" srcOrd="0" destOrd="0" presId="urn:microsoft.com/office/officeart/2005/8/layout/pyramid1"/>
    <dgm:cxn modelId="{115AAA0E-3BD9-4680-8780-C1C131B8A788}" type="presParOf" srcId="{0F07340F-0533-4837-8770-848CCB8AD348}" destId="{9F121690-0A83-43AD-BAFB-4F91C681A70D}" srcOrd="1" destOrd="0" presId="urn:microsoft.com/office/officeart/2005/8/layout/pyramid1"/>
    <dgm:cxn modelId="{F2C92B24-AA76-41D5-A639-999C4C608554}" type="presParOf" srcId="{E213B663-D3A6-49FB-9543-B2EF5E6ABF3D}" destId="{2048084B-8597-4D17-B0C0-9B43FCC17A91}" srcOrd="4" destOrd="0" presId="urn:microsoft.com/office/officeart/2005/8/layout/pyramid1"/>
    <dgm:cxn modelId="{076CD17A-6BF0-4A30-8077-FD221BA150D3}" type="presParOf" srcId="{2048084B-8597-4D17-B0C0-9B43FCC17A91}" destId="{4E15CFAE-4283-4799-9AAF-94D2CFA82576}" srcOrd="0" destOrd="0" presId="urn:microsoft.com/office/officeart/2005/8/layout/pyramid1"/>
    <dgm:cxn modelId="{774DFBC2-221B-4DD3-8946-BB1748D17927}" type="presParOf" srcId="{2048084B-8597-4D17-B0C0-9B43FCC17A91}" destId="{E69C1E6E-CABA-48A8-9241-1DCBE21168E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610F70-20BB-4FAD-BFEB-5C11A797390E}">
      <dsp:nvSpPr>
        <dsp:cNvPr id="0" name=""/>
        <dsp:cNvSpPr/>
      </dsp:nvSpPr>
      <dsp:spPr>
        <a:xfrm>
          <a:off x="4002881" y="1638772"/>
          <a:ext cx="266608" cy="8709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70994"/>
              </a:lnTo>
              <a:lnTo>
                <a:pt x="266608" y="870994"/>
              </a:lnTo>
            </a:path>
          </a:pathLst>
        </a:custGeom>
        <a:noFill/>
        <a:ln w="12700" cap="flat" cmpd="sng" algn="ctr">
          <a:solidFill>
            <a:srgbClr val="D9DF2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48FCEFC-028A-48C7-9D12-4E5D98C5E42C}">
      <dsp:nvSpPr>
        <dsp:cNvPr id="0" name=""/>
        <dsp:cNvSpPr/>
      </dsp:nvSpPr>
      <dsp:spPr>
        <a:xfrm>
          <a:off x="3736273" y="1638772"/>
          <a:ext cx="266608" cy="870994"/>
        </a:xfrm>
        <a:custGeom>
          <a:avLst/>
          <a:gdLst/>
          <a:ahLst/>
          <a:cxnLst/>
          <a:rect l="0" t="0" r="0" b="0"/>
          <a:pathLst>
            <a:path>
              <a:moveTo>
                <a:pt x="266608" y="0"/>
              </a:moveTo>
              <a:lnTo>
                <a:pt x="266608" y="870994"/>
              </a:lnTo>
              <a:lnTo>
                <a:pt x="0" y="870994"/>
              </a:lnTo>
            </a:path>
          </a:pathLst>
        </a:custGeom>
        <a:noFill/>
        <a:ln w="12700" cap="flat" cmpd="sng" algn="ctr">
          <a:solidFill>
            <a:srgbClr val="D9DF2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3C4242-E156-4DA9-8F7B-1117E238912B}">
      <dsp:nvSpPr>
        <dsp:cNvPr id="0" name=""/>
        <dsp:cNvSpPr/>
      </dsp:nvSpPr>
      <dsp:spPr>
        <a:xfrm>
          <a:off x="4002881" y="1638772"/>
          <a:ext cx="3141101" cy="17419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53423"/>
              </a:lnTo>
              <a:lnTo>
                <a:pt x="3141101" y="1553423"/>
              </a:lnTo>
              <a:lnTo>
                <a:pt x="3141101" y="1741989"/>
              </a:lnTo>
            </a:path>
          </a:pathLst>
        </a:custGeom>
        <a:noFill/>
        <a:ln w="12700" cap="flat" cmpd="sng" algn="ctr">
          <a:solidFill>
            <a:srgbClr val="6DCFF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9BEC2C4-B325-41BE-B6A3-32A403AC7170}">
      <dsp:nvSpPr>
        <dsp:cNvPr id="0" name=""/>
        <dsp:cNvSpPr/>
      </dsp:nvSpPr>
      <dsp:spPr>
        <a:xfrm>
          <a:off x="4002881" y="1638772"/>
          <a:ext cx="1047033" cy="17419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53423"/>
              </a:lnTo>
              <a:lnTo>
                <a:pt x="1047033" y="1553423"/>
              </a:lnTo>
              <a:lnTo>
                <a:pt x="1047033" y="1741989"/>
              </a:lnTo>
            </a:path>
          </a:pathLst>
        </a:custGeom>
        <a:noFill/>
        <a:ln w="12700" cap="flat" cmpd="sng" algn="ctr">
          <a:solidFill>
            <a:srgbClr val="6DCFF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3DB9741-7B59-4ADE-BF50-1A5B17A8CE3F}">
      <dsp:nvSpPr>
        <dsp:cNvPr id="0" name=""/>
        <dsp:cNvSpPr/>
      </dsp:nvSpPr>
      <dsp:spPr>
        <a:xfrm>
          <a:off x="2955847" y="1638772"/>
          <a:ext cx="1047033" cy="1741989"/>
        </a:xfrm>
        <a:custGeom>
          <a:avLst/>
          <a:gdLst/>
          <a:ahLst/>
          <a:cxnLst/>
          <a:rect l="0" t="0" r="0" b="0"/>
          <a:pathLst>
            <a:path>
              <a:moveTo>
                <a:pt x="1047033" y="0"/>
              </a:moveTo>
              <a:lnTo>
                <a:pt x="1047033" y="1553423"/>
              </a:lnTo>
              <a:lnTo>
                <a:pt x="0" y="1553423"/>
              </a:lnTo>
              <a:lnTo>
                <a:pt x="0" y="1741989"/>
              </a:lnTo>
            </a:path>
          </a:pathLst>
        </a:custGeom>
        <a:noFill/>
        <a:ln w="12700" cap="flat" cmpd="sng" algn="ctr">
          <a:solidFill>
            <a:srgbClr val="6DCFF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9224BE-71E0-4F45-A79C-E181B98D93BE}">
      <dsp:nvSpPr>
        <dsp:cNvPr id="0" name=""/>
        <dsp:cNvSpPr/>
      </dsp:nvSpPr>
      <dsp:spPr>
        <a:xfrm>
          <a:off x="861779" y="1638772"/>
          <a:ext cx="3141101" cy="1741989"/>
        </a:xfrm>
        <a:custGeom>
          <a:avLst/>
          <a:gdLst/>
          <a:ahLst/>
          <a:cxnLst/>
          <a:rect l="0" t="0" r="0" b="0"/>
          <a:pathLst>
            <a:path>
              <a:moveTo>
                <a:pt x="3141101" y="0"/>
              </a:moveTo>
              <a:lnTo>
                <a:pt x="3141101" y="1553423"/>
              </a:lnTo>
              <a:lnTo>
                <a:pt x="0" y="1553423"/>
              </a:lnTo>
              <a:lnTo>
                <a:pt x="0" y="1741989"/>
              </a:lnTo>
            </a:path>
          </a:pathLst>
        </a:custGeom>
        <a:noFill/>
        <a:ln w="12700" cap="flat" cmpd="sng" algn="ctr">
          <a:solidFill>
            <a:srgbClr val="6DCFF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ECC0AD-5679-47BB-8159-686619419F49}">
      <dsp:nvSpPr>
        <dsp:cNvPr id="0" name=""/>
        <dsp:cNvSpPr/>
      </dsp:nvSpPr>
      <dsp:spPr>
        <a:xfrm>
          <a:off x="3222455" y="830632"/>
          <a:ext cx="1560851" cy="808139"/>
        </a:xfrm>
        <a:prstGeom prst="rect">
          <a:avLst/>
        </a:prstGeom>
        <a:solidFill>
          <a:srgbClr val="A6A7A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4037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SPM/PM</a:t>
          </a:r>
        </a:p>
      </dsp:txBody>
      <dsp:txXfrm>
        <a:off x="3222455" y="830632"/>
        <a:ext cx="1560851" cy="808139"/>
      </dsp:txXfrm>
    </dsp:sp>
    <dsp:sp modelId="{0FF21C90-A7FA-40DF-BAF1-07732493166F}">
      <dsp:nvSpPr>
        <dsp:cNvPr id="0" name=""/>
        <dsp:cNvSpPr/>
      </dsp:nvSpPr>
      <dsp:spPr>
        <a:xfrm>
          <a:off x="3534626" y="1459185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kern="1200" dirty="0">
              <a:latin typeface="Arial" pitchFamily="34" charset="0"/>
              <a:cs typeface="Arial" pitchFamily="34" charset="0"/>
            </a:rPr>
            <a:t>zdjęcie</a:t>
          </a:r>
        </a:p>
      </dsp:txBody>
      <dsp:txXfrm>
        <a:off x="3534626" y="1459185"/>
        <a:ext cx="1404765" cy="269379"/>
      </dsp:txXfrm>
    </dsp:sp>
    <dsp:sp modelId="{F725E242-9FB8-4564-98BE-C2B511EDB45A}">
      <dsp:nvSpPr>
        <dsp:cNvPr id="0" name=""/>
        <dsp:cNvSpPr/>
      </dsp:nvSpPr>
      <dsp:spPr>
        <a:xfrm>
          <a:off x="81353" y="3380761"/>
          <a:ext cx="1560851" cy="808139"/>
        </a:xfrm>
        <a:prstGeom prst="rect">
          <a:avLst/>
        </a:prstGeom>
        <a:solidFill>
          <a:srgbClr val="6DCFF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4037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Kierownik Robót </a:t>
          </a:r>
        </a:p>
      </dsp:txBody>
      <dsp:txXfrm>
        <a:off x="81353" y="3380761"/>
        <a:ext cx="1560851" cy="808139"/>
      </dsp:txXfrm>
    </dsp:sp>
    <dsp:sp modelId="{16101845-A618-4356-91EB-A156721F3E34}">
      <dsp:nvSpPr>
        <dsp:cNvPr id="0" name=""/>
        <dsp:cNvSpPr/>
      </dsp:nvSpPr>
      <dsp:spPr>
        <a:xfrm>
          <a:off x="393524" y="4009314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kern="1200" dirty="0">
              <a:latin typeface="Arial" pitchFamily="34" charset="0"/>
              <a:cs typeface="Arial" pitchFamily="34" charset="0"/>
            </a:rPr>
            <a:t>zdjęcie</a:t>
          </a:r>
        </a:p>
      </dsp:txBody>
      <dsp:txXfrm>
        <a:off x="393524" y="4009314"/>
        <a:ext cx="1404765" cy="269379"/>
      </dsp:txXfrm>
    </dsp:sp>
    <dsp:sp modelId="{D36C0C50-F574-489F-9CF8-A189F70435B3}">
      <dsp:nvSpPr>
        <dsp:cNvPr id="0" name=""/>
        <dsp:cNvSpPr/>
      </dsp:nvSpPr>
      <dsp:spPr>
        <a:xfrm>
          <a:off x="2175421" y="3380761"/>
          <a:ext cx="1560851" cy="808139"/>
        </a:xfrm>
        <a:prstGeom prst="rect">
          <a:avLst/>
        </a:prstGeom>
        <a:solidFill>
          <a:srgbClr val="6DCFF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4037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Koordynator BHP i OŚ</a:t>
          </a:r>
        </a:p>
      </dsp:txBody>
      <dsp:txXfrm>
        <a:off x="2175421" y="3380761"/>
        <a:ext cx="1560851" cy="808139"/>
      </dsp:txXfrm>
    </dsp:sp>
    <dsp:sp modelId="{84EE05FD-350F-4672-B015-8E706D408ED4}">
      <dsp:nvSpPr>
        <dsp:cNvPr id="0" name=""/>
        <dsp:cNvSpPr/>
      </dsp:nvSpPr>
      <dsp:spPr>
        <a:xfrm>
          <a:off x="2487592" y="4009314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kern="1200" dirty="0">
              <a:latin typeface="Arial" pitchFamily="34" charset="0"/>
              <a:cs typeface="Arial" pitchFamily="34" charset="0"/>
            </a:rPr>
            <a:t>zdjęcie</a:t>
          </a:r>
        </a:p>
      </dsp:txBody>
      <dsp:txXfrm>
        <a:off x="2487592" y="4009314"/>
        <a:ext cx="1404765" cy="269379"/>
      </dsp:txXfrm>
    </dsp:sp>
    <dsp:sp modelId="{7002CCBE-21D2-4CC1-92D0-DB50FC31FD4A}">
      <dsp:nvSpPr>
        <dsp:cNvPr id="0" name=""/>
        <dsp:cNvSpPr/>
      </dsp:nvSpPr>
      <dsp:spPr>
        <a:xfrm>
          <a:off x="4269489" y="3380761"/>
          <a:ext cx="1560851" cy="808139"/>
        </a:xfrm>
        <a:prstGeom prst="rect">
          <a:avLst/>
        </a:prstGeom>
        <a:solidFill>
          <a:srgbClr val="6DCFF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4037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…..</a:t>
          </a:r>
        </a:p>
      </dsp:txBody>
      <dsp:txXfrm>
        <a:off x="4269489" y="3380761"/>
        <a:ext cx="1560851" cy="808139"/>
      </dsp:txXfrm>
    </dsp:sp>
    <dsp:sp modelId="{5A577F11-7776-4E5E-8CA0-1333284000E6}">
      <dsp:nvSpPr>
        <dsp:cNvPr id="0" name=""/>
        <dsp:cNvSpPr/>
      </dsp:nvSpPr>
      <dsp:spPr>
        <a:xfrm>
          <a:off x="4581660" y="4009314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180" tIns="10795" rIns="43180" bIns="10795" numCol="1" spcCol="1270" anchor="ctr" anchorCtr="0">
          <a:noAutofit/>
        </a:bodyPr>
        <a:lstStyle/>
        <a:p>
          <a:pPr marL="0" lvl="0" indent="0" algn="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l-PL" sz="1700" kern="1200"/>
        </a:p>
      </dsp:txBody>
      <dsp:txXfrm>
        <a:off x="4581660" y="4009314"/>
        <a:ext cx="1404765" cy="269379"/>
      </dsp:txXfrm>
    </dsp:sp>
    <dsp:sp modelId="{F7FC3F3F-D80F-42DE-9DA1-223FFE0E12C5}">
      <dsp:nvSpPr>
        <dsp:cNvPr id="0" name=""/>
        <dsp:cNvSpPr/>
      </dsp:nvSpPr>
      <dsp:spPr>
        <a:xfrm>
          <a:off x="6363557" y="3380761"/>
          <a:ext cx="1560851" cy="808139"/>
        </a:xfrm>
        <a:prstGeom prst="rect">
          <a:avLst/>
        </a:prstGeom>
        <a:solidFill>
          <a:srgbClr val="6DCFF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845" tIns="29845" rIns="29845" bIns="114037" numCol="1" spcCol="1270" anchor="ctr" anchorCtr="0">
          <a:noAutofit/>
        </a:bodyPr>
        <a:lstStyle/>
        <a:p>
          <a:pPr marL="0" lvl="0" indent="0" algn="ctr" defTabSz="2089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l-PL" sz="4700" kern="1200" dirty="0"/>
        </a:p>
      </dsp:txBody>
      <dsp:txXfrm>
        <a:off x="6363557" y="3380761"/>
        <a:ext cx="1560851" cy="808139"/>
      </dsp:txXfrm>
    </dsp:sp>
    <dsp:sp modelId="{BFDC359B-BA27-41CE-BC14-D48F6F75CB90}">
      <dsp:nvSpPr>
        <dsp:cNvPr id="0" name=""/>
        <dsp:cNvSpPr/>
      </dsp:nvSpPr>
      <dsp:spPr>
        <a:xfrm>
          <a:off x="6675728" y="4009314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180" tIns="10795" rIns="43180" bIns="10795" numCol="1" spcCol="1270" anchor="ctr" anchorCtr="0">
          <a:noAutofit/>
        </a:bodyPr>
        <a:lstStyle/>
        <a:p>
          <a:pPr marL="0" lvl="0" indent="0" algn="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l-PL" sz="1700" kern="1200"/>
        </a:p>
      </dsp:txBody>
      <dsp:txXfrm>
        <a:off x="6675728" y="4009314"/>
        <a:ext cx="1404765" cy="269379"/>
      </dsp:txXfrm>
    </dsp:sp>
    <dsp:sp modelId="{5A99F425-1EA9-4A3E-B2C9-D0FA38928DB8}">
      <dsp:nvSpPr>
        <dsp:cNvPr id="0" name=""/>
        <dsp:cNvSpPr/>
      </dsp:nvSpPr>
      <dsp:spPr>
        <a:xfrm>
          <a:off x="2175421" y="2105697"/>
          <a:ext cx="1560851" cy="808139"/>
        </a:xfrm>
        <a:prstGeom prst="rect">
          <a:avLst/>
        </a:prstGeom>
        <a:solidFill>
          <a:srgbClr val="D9DF2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4037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Dyrektor Budowy</a:t>
          </a:r>
        </a:p>
      </dsp:txBody>
      <dsp:txXfrm>
        <a:off x="2175421" y="2105697"/>
        <a:ext cx="1560851" cy="808139"/>
      </dsp:txXfrm>
    </dsp:sp>
    <dsp:sp modelId="{1D06D778-9725-49BB-8FC5-325057DE3AC3}">
      <dsp:nvSpPr>
        <dsp:cNvPr id="0" name=""/>
        <dsp:cNvSpPr/>
      </dsp:nvSpPr>
      <dsp:spPr>
        <a:xfrm>
          <a:off x="2487592" y="2734250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kern="1200" dirty="0">
              <a:latin typeface="Arial" pitchFamily="34" charset="0"/>
              <a:cs typeface="Arial" pitchFamily="34" charset="0"/>
            </a:rPr>
            <a:t>zdjęcie</a:t>
          </a:r>
        </a:p>
      </dsp:txBody>
      <dsp:txXfrm>
        <a:off x="2487592" y="2734250"/>
        <a:ext cx="1404765" cy="269379"/>
      </dsp:txXfrm>
    </dsp:sp>
    <dsp:sp modelId="{13D0C237-A8B2-43D0-AD6E-1742C4806465}">
      <dsp:nvSpPr>
        <dsp:cNvPr id="0" name=""/>
        <dsp:cNvSpPr/>
      </dsp:nvSpPr>
      <dsp:spPr>
        <a:xfrm>
          <a:off x="4269489" y="2105697"/>
          <a:ext cx="1560851" cy="808139"/>
        </a:xfrm>
        <a:prstGeom prst="rect">
          <a:avLst/>
        </a:prstGeom>
        <a:solidFill>
          <a:srgbClr val="D9DF2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4037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Kierownik Budowy</a:t>
          </a:r>
        </a:p>
      </dsp:txBody>
      <dsp:txXfrm>
        <a:off x="4269489" y="2105697"/>
        <a:ext cx="1560851" cy="808139"/>
      </dsp:txXfrm>
    </dsp:sp>
    <dsp:sp modelId="{8CB5E423-F550-4019-871F-B5E118A5177B}">
      <dsp:nvSpPr>
        <dsp:cNvPr id="0" name=""/>
        <dsp:cNvSpPr/>
      </dsp:nvSpPr>
      <dsp:spPr>
        <a:xfrm>
          <a:off x="4581660" y="2734250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kern="1200" dirty="0">
              <a:latin typeface="Arial" pitchFamily="34" charset="0"/>
              <a:cs typeface="Arial" pitchFamily="34" charset="0"/>
            </a:rPr>
            <a:t>zdjęcie</a:t>
          </a:r>
        </a:p>
      </dsp:txBody>
      <dsp:txXfrm>
        <a:off x="4581660" y="2734250"/>
        <a:ext cx="1404765" cy="26937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0ED154-BF6D-4E9E-864C-2516204995BC}">
      <dsp:nvSpPr>
        <dsp:cNvPr id="0" name=""/>
        <dsp:cNvSpPr/>
      </dsp:nvSpPr>
      <dsp:spPr>
        <a:xfrm>
          <a:off x="2415717" y="0"/>
          <a:ext cx="1207858" cy="955473"/>
        </a:xfrm>
        <a:prstGeom prst="trapezoid">
          <a:avLst>
            <a:gd name="adj" fmla="val 63207"/>
          </a:avLst>
        </a:prstGeom>
        <a:solidFill>
          <a:srgbClr val="FF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Wypadki śmiertelne</a:t>
          </a:r>
        </a:p>
      </dsp:txBody>
      <dsp:txXfrm>
        <a:off x="2415717" y="0"/>
        <a:ext cx="1207858" cy="955473"/>
      </dsp:txXfrm>
    </dsp:sp>
    <dsp:sp modelId="{56E385A8-8B78-49E4-B44A-DBE313A3ED74}">
      <dsp:nvSpPr>
        <dsp:cNvPr id="0" name=""/>
        <dsp:cNvSpPr/>
      </dsp:nvSpPr>
      <dsp:spPr>
        <a:xfrm>
          <a:off x="1811787" y="955473"/>
          <a:ext cx="2415717" cy="955473"/>
        </a:xfrm>
        <a:prstGeom prst="trapezoid">
          <a:avLst>
            <a:gd name="adj" fmla="val 63207"/>
          </a:avLst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Wypadki</a:t>
          </a:r>
        </a:p>
      </dsp:txBody>
      <dsp:txXfrm>
        <a:off x="2234538" y="955473"/>
        <a:ext cx="1570216" cy="955473"/>
      </dsp:txXfrm>
    </dsp:sp>
    <dsp:sp modelId="{5D37ED0B-33C5-4205-998D-F4140755BAAC}">
      <dsp:nvSpPr>
        <dsp:cNvPr id="0" name=""/>
        <dsp:cNvSpPr/>
      </dsp:nvSpPr>
      <dsp:spPr>
        <a:xfrm>
          <a:off x="1207858" y="1910946"/>
          <a:ext cx="3623575" cy="955473"/>
        </a:xfrm>
        <a:prstGeom prst="trapezoid">
          <a:avLst>
            <a:gd name="adj" fmla="val 63207"/>
          </a:avLst>
        </a:prstGeom>
        <a:solidFill>
          <a:srgbClr val="FFFF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Poważne incydenty</a:t>
          </a:r>
        </a:p>
      </dsp:txBody>
      <dsp:txXfrm>
        <a:off x="1841984" y="1910946"/>
        <a:ext cx="2355324" cy="955473"/>
      </dsp:txXfrm>
    </dsp:sp>
    <dsp:sp modelId="{1CA79F52-2D6D-437C-A5AF-7E09A2AE096B}">
      <dsp:nvSpPr>
        <dsp:cNvPr id="0" name=""/>
        <dsp:cNvSpPr/>
      </dsp:nvSpPr>
      <dsp:spPr>
        <a:xfrm>
          <a:off x="603929" y="2866419"/>
          <a:ext cx="4831434" cy="955473"/>
        </a:xfrm>
        <a:prstGeom prst="trapezoid">
          <a:avLst>
            <a:gd name="adj" fmla="val 63207"/>
          </a:avLst>
        </a:prstGeom>
        <a:solidFill>
          <a:schemeClr val="accent4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Małe incydenty / pierwsza pomoc</a:t>
          </a:r>
        </a:p>
      </dsp:txBody>
      <dsp:txXfrm>
        <a:off x="1449430" y="2866419"/>
        <a:ext cx="3140432" cy="955473"/>
      </dsp:txXfrm>
    </dsp:sp>
    <dsp:sp modelId="{4E15CFAE-4283-4799-9AAF-94D2CFA82576}">
      <dsp:nvSpPr>
        <dsp:cNvPr id="0" name=""/>
        <dsp:cNvSpPr/>
      </dsp:nvSpPr>
      <dsp:spPr>
        <a:xfrm>
          <a:off x="0" y="3821892"/>
          <a:ext cx="6039293" cy="955473"/>
        </a:xfrm>
        <a:prstGeom prst="trapezoid">
          <a:avLst>
            <a:gd name="adj" fmla="val 63207"/>
          </a:avLst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Obserwacje</a:t>
          </a:r>
        </a:p>
      </dsp:txBody>
      <dsp:txXfrm>
        <a:off x="1056876" y="3821892"/>
        <a:ext cx="3925540" cy="95547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4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11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15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2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>
            <a:extLst>
              <a:ext uri="{FF2B5EF4-FFF2-40B4-BE49-F238E27FC236}">
                <a16:creationId xmlns:a16="http://schemas.microsoft.com/office/drawing/2014/main" id="{A683CA7A-B15B-4D36-ACEF-BC1EAC1CC6F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pl-PL"/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C5D8696E-C98F-4759-93FF-F832A2CD3F6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8892A948-80D2-43B6-8CBC-EF05D023E729}" type="datetimeFigureOut">
              <a:rPr lang="pl-PL" smtClean="0"/>
              <a:pPr/>
              <a:t>2024-04-11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8863D0B3-EC21-4910-85FD-389D3331D12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D21D070F-6F4D-4F85-80F7-A33ACF8E5B8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4D4CCA57-B563-4AA6-A7AF-4B0F04E7DB5B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811963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0D026FDC-65C1-4477-ABDA-003A4795EB49}" type="datetimeFigureOut">
              <a:rPr lang="pl-PL" smtClean="0"/>
              <a:pPr/>
              <a:t>2024-04-11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CDFFC7B1-BD89-496E-B6F2-1602761110C0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279349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Żółte kartki z komentarzem należy usunąć, w trakcie edycji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90752">
              <a:defRPr/>
            </a:pPr>
            <a:fld id="{B05C5665-B514-4CAA-9EC9-410A32F798C0}" type="slidenum">
              <a:rPr lang="pl-PL">
                <a:solidFill>
                  <a:prstClr val="black"/>
                </a:solidFill>
                <a:latin typeface="Calibri" panose="020F0502020204030204"/>
              </a:rPr>
              <a:pPr defTabSz="990752">
                <a:defRPr/>
              </a:pPr>
              <a:t>1</a:t>
            </a:fld>
            <a:endParaRPr lang="pl-PL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7943518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1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8806359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Dodać komentarz w zakresie zagrożeń i potencjalnych przyczyn osuwania się wykopu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FFC7B1-BD89-496E-B6F2-1602761110C0}" type="slidenum">
              <a:rPr lang="pl-PL" smtClean="0"/>
              <a:pPr/>
              <a:t>4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7900926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4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738774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49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665028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l-PL" dirty="0"/>
              <a:t>Najważniejsze dane statystyczne związane z budową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90752">
              <a:defRPr/>
            </a:pPr>
            <a:fld id="{CDFFC7B1-BD89-496E-B6F2-1602761110C0}" type="slidenum">
              <a:rPr lang="pl-PL">
                <a:solidFill>
                  <a:prstClr val="black"/>
                </a:solidFill>
                <a:latin typeface="Calibri"/>
              </a:rPr>
              <a:pPr defTabSz="990752">
                <a:defRPr/>
              </a:pPr>
              <a:t>51</a:t>
            </a:fld>
            <a:endParaRPr lang="pl-PL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WAŻNE:</a:t>
            </a:r>
          </a:p>
          <a:p>
            <a:r>
              <a:rPr lang="pl-PL" dirty="0"/>
              <a:t>- Omówić obowiązek stosowania pasków podbródkowych oraz kolorystykę kasków wedle standardów ECHO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5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8917019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Dodano slajd 52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5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9206090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Dodano slajd 52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5C5665-B514-4CAA-9EC9-410A32F798C0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pl-P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59745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FFC7B1-BD89-496E-B6F2-1602761110C0}" type="slidenum">
              <a:rPr lang="pl-PL" smtClean="0"/>
              <a:pPr/>
              <a:t>59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1877331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7">
            <a:extLst>
              <a:ext uri="{FF2B5EF4-FFF2-40B4-BE49-F238E27FC236}">
                <a16:creationId xmlns:a16="http://schemas.microsoft.com/office/drawing/2014/main" id="{81591223-F344-459B-90C5-7F204049552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0913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50913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50913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50913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50913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BD5B04DB-FBA7-4926-B719-1FA07D316801}" type="slidenum">
              <a:rPr lang="en-US" altLang="en-US" b="0" smtClean="0"/>
              <a:pPr/>
              <a:t>63</a:t>
            </a:fld>
            <a:endParaRPr lang="en-US" altLang="en-US" b="0"/>
          </a:p>
        </p:txBody>
      </p:sp>
      <p:sp>
        <p:nvSpPr>
          <p:cNvPr id="61443" name="Rectangle 1026">
            <a:extLst>
              <a:ext uri="{FF2B5EF4-FFF2-40B4-BE49-F238E27FC236}">
                <a16:creationId xmlns:a16="http://schemas.microsoft.com/office/drawing/2014/main" id="{690040A9-9891-49B9-941D-E55F0AB57F9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0163" y="746125"/>
            <a:ext cx="6610350" cy="3719513"/>
          </a:xfrm>
          <a:solidFill>
            <a:srgbClr val="FFFFFF"/>
          </a:solidFill>
          <a:ln w="12700" cap="flat"/>
        </p:spPr>
      </p:sp>
      <p:sp>
        <p:nvSpPr>
          <p:cNvPr id="61444" name="Rectangle 1027">
            <a:extLst>
              <a:ext uri="{FF2B5EF4-FFF2-40B4-BE49-F238E27FC236}">
                <a16:creationId xmlns:a16="http://schemas.microsoft.com/office/drawing/2014/main" id="{FAAB87C5-E89E-4EF4-BB2C-70B9C8814BF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889000" y="4716463"/>
            <a:ext cx="4891088" cy="446563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585" tIns="47292" rIns="94585" bIns="47292"/>
          <a:lstStyle/>
          <a:p>
            <a:endParaRPr lang="en-GB" altLang="en-US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FFC7B1-BD89-496E-B6F2-1602761110C0}" type="slidenum">
              <a:rPr lang="pl-PL" smtClean="0"/>
              <a:pPr/>
              <a:t>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16784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6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528088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FFC7B1-BD89-496E-B6F2-1602761110C0}" type="slidenum">
              <a:rPr lang="pl-PL" smtClean="0"/>
              <a:pPr/>
              <a:t>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822125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FFC7B1-BD89-496E-B6F2-1602761110C0}" type="slidenum">
              <a:rPr lang="pl-PL" smtClean="0"/>
              <a:pPr/>
              <a:t>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025565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520530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Omawiamy:</a:t>
            </a:r>
          </a:p>
          <a:p>
            <a:r>
              <a:rPr lang="pl-PL"/>
              <a:t>Gdzie </a:t>
            </a:r>
            <a:r>
              <a:rPr lang="pl-PL" dirty="0"/>
              <a:t>obecnie się znajdujemy.</a:t>
            </a:r>
          </a:p>
          <a:p>
            <a:r>
              <a:rPr lang="pl-PL" dirty="0"/>
              <a:t>Gdzie jest punkt zbiórki do ewakuacji.</a:t>
            </a:r>
          </a:p>
          <a:p>
            <a:r>
              <a:rPr lang="pl-PL" dirty="0"/>
              <a:t>Gdzie jest sprzęt p.poż i pierwszej pomocy.</a:t>
            </a:r>
          </a:p>
          <a:p>
            <a:r>
              <a:rPr lang="pl-PL" dirty="0"/>
              <a:t>Którędy poruszamy się po budowie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755657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05C5665-B514-4CAA-9EC9-410A32F798C0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pl-P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24479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10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203956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Cel ECHO na 2019 to max. 10% odpadów które są składowane na wysypiskach. 90% odpadów wytworzonych na budowie powinno być poddanych recyklingowi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1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762494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6.jpe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A57CA49-BD5C-4C01-9F8D-9D71A2FA9A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25BA9FE6-C1D8-480E-A24A-4CED8C828D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pl-PL"/>
              <a:t>Kliknij, aby edytować styl wzorca podtytułu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C50C1932-F8DC-48E7-83B9-A34CF81B912F}"/>
              </a:ext>
            </a:extLst>
          </p:cNvPr>
          <p:cNvSpPr/>
          <p:nvPr/>
        </p:nvSpPr>
        <p:spPr bwMode="auto">
          <a:xfrm>
            <a:off x="0" y="6325126"/>
            <a:ext cx="12192000" cy="53287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5" name="Picture 4" descr="Archicom | Artefakt">
            <a:extLst>
              <a:ext uri="{FF2B5EF4-FFF2-40B4-BE49-F238E27FC236}">
                <a16:creationId xmlns:a16="http://schemas.microsoft.com/office/drawing/2014/main" id="{0ED07A4D-0BE0-4212-A0A6-F99853AC4E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rostokąt 5">
            <a:extLst>
              <a:ext uri="{FF2B5EF4-FFF2-40B4-BE49-F238E27FC236}">
                <a16:creationId xmlns:a16="http://schemas.microsoft.com/office/drawing/2014/main" id="{104611E4-A88E-4266-9EF1-6371BECBFEE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68214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Symbol zastępczy obrazu 2">
            <a:extLst>
              <a:ext uri="{FF2B5EF4-FFF2-40B4-BE49-F238E27FC236}">
                <a16:creationId xmlns:a16="http://schemas.microsoft.com/office/drawing/2014/main" id="{519F0719-6729-49CE-AE9C-287BAF1283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486400" y="1338491"/>
            <a:ext cx="6457949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69" name="Prostokąt 68">
            <a:extLst>
              <a:ext uri="{FF2B5EF4-FFF2-40B4-BE49-F238E27FC236}">
                <a16:creationId xmlns:a16="http://schemas.microsoft.com/office/drawing/2014/main" id="{C9BFCF1E-FE7E-4E52-B429-1A2987159626}"/>
              </a:ext>
            </a:extLst>
          </p:cNvPr>
          <p:cNvSpPr/>
          <p:nvPr userDrawn="1"/>
        </p:nvSpPr>
        <p:spPr>
          <a:xfrm>
            <a:off x="5494565" y="6458565"/>
            <a:ext cx="644747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pl-PL" altLang="en-US" sz="1200" b="0" kern="1200" dirty="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rPr>
              <a:t>Szkolenie informacyjne</a:t>
            </a:r>
            <a:r>
              <a:rPr lang="pl-PL" altLang="en-US" sz="1200" b="0" kern="1200" baseline="0" dirty="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rPr>
              <a:t> | </a:t>
            </a:r>
            <a:r>
              <a:rPr lang="pl-PL" altLang="en-US" sz="1200" b="0" kern="1200" dirty="0">
                <a:solidFill>
                  <a:schemeClr val="bg1"/>
                </a:solidFill>
                <a:latin typeface="Gotham Light" pitchFamily="50" charset="0"/>
                <a:ea typeface="+mn-ea"/>
                <a:cs typeface="Gotham Light" pitchFamily="50" charset="0"/>
              </a:rPr>
              <a:t>Induction Training</a:t>
            </a:r>
          </a:p>
        </p:txBody>
      </p:sp>
      <p:sp>
        <p:nvSpPr>
          <p:cNvPr id="107" name="Tytuł 1">
            <a:extLst>
              <a:ext uri="{FF2B5EF4-FFF2-40B4-BE49-F238E27FC236}">
                <a16:creationId xmlns:a16="http://schemas.microsoft.com/office/drawing/2014/main" id="{8F4A6FB8-AE39-4EFD-974B-968DB681D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700" y="770297"/>
            <a:ext cx="11658599" cy="736964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000">
                <a:latin typeface="Gotham Book" pitchFamily="50" charset="0"/>
                <a:cs typeface="Gotham Book" pitchFamily="50" charset="0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35" name="Symbol zastępczy obrazu 2">
            <a:extLst>
              <a:ext uri="{FF2B5EF4-FFF2-40B4-BE49-F238E27FC236}">
                <a16:creationId xmlns:a16="http://schemas.microsoft.com/office/drawing/2014/main" id="{D475FFE9-F4F1-434D-BAC3-E240A948D869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8811491" y="122436"/>
            <a:ext cx="3035876" cy="820047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055262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Symbol zastępczy obrazu 2">
            <a:extLst>
              <a:ext uri="{FF2B5EF4-FFF2-40B4-BE49-F238E27FC236}">
                <a16:creationId xmlns:a16="http://schemas.microsoft.com/office/drawing/2014/main" id="{519F0719-6729-49CE-AE9C-287BAF1283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928534" y="1338491"/>
            <a:ext cx="8015816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69" name="Prostokąt 68">
            <a:extLst>
              <a:ext uri="{FF2B5EF4-FFF2-40B4-BE49-F238E27FC236}">
                <a16:creationId xmlns:a16="http://schemas.microsoft.com/office/drawing/2014/main" id="{C9BFCF1E-FE7E-4E52-B429-1A2987159626}"/>
              </a:ext>
            </a:extLst>
          </p:cNvPr>
          <p:cNvSpPr/>
          <p:nvPr userDrawn="1"/>
        </p:nvSpPr>
        <p:spPr>
          <a:xfrm>
            <a:off x="5494565" y="6458565"/>
            <a:ext cx="644747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pl-PL" altLang="en-US" sz="1200" b="0" kern="1200" dirty="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rPr>
              <a:t>Szkolenie informacyjne</a:t>
            </a:r>
            <a:r>
              <a:rPr lang="pl-PL" altLang="en-US" sz="1200" b="0" kern="1200" baseline="0" dirty="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rPr>
              <a:t> | </a:t>
            </a:r>
            <a:r>
              <a:rPr lang="pl-PL" altLang="en-US" sz="1200" b="0" kern="1200" dirty="0">
                <a:solidFill>
                  <a:schemeClr val="bg1"/>
                </a:solidFill>
                <a:latin typeface="Gotham Light" pitchFamily="50" charset="0"/>
                <a:ea typeface="+mn-ea"/>
                <a:cs typeface="Gotham Light" pitchFamily="50" charset="0"/>
              </a:rPr>
              <a:t>Induction Training</a:t>
            </a:r>
          </a:p>
        </p:txBody>
      </p:sp>
      <p:sp>
        <p:nvSpPr>
          <p:cNvPr id="107" name="Tytuł 1">
            <a:extLst>
              <a:ext uri="{FF2B5EF4-FFF2-40B4-BE49-F238E27FC236}">
                <a16:creationId xmlns:a16="http://schemas.microsoft.com/office/drawing/2014/main" id="{8F4A6FB8-AE39-4EFD-974B-968DB681D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700" y="770297"/>
            <a:ext cx="11658599" cy="736964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000">
                <a:latin typeface="Gotham Book" pitchFamily="50" charset="0"/>
                <a:cs typeface="Gotham Book" pitchFamily="50" charset="0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36361945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Symbol zastępczy obrazu 2">
            <a:extLst>
              <a:ext uri="{FF2B5EF4-FFF2-40B4-BE49-F238E27FC236}">
                <a16:creationId xmlns:a16="http://schemas.microsoft.com/office/drawing/2014/main" id="{519F0719-6729-49CE-AE9C-287BAF1283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17229" y="1338491"/>
            <a:ext cx="472712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69" name="Prostokąt 68">
            <a:extLst>
              <a:ext uri="{FF2B5EF4-FFF2-40B4-BE49-F238E27FC236}">
                <a16:creationId xmlns:a16="http://schemas.microsoft.com/office/drawing/2014/main" id="{C9BFCF1E-FE7E-4E52-B429-1A2987159626}"/>
              </a:ext>
            </a:extLst>
          </p:cNvPr>
          <p:cNvSpPr/>
          <p:nvPr userDrawn="1"/>
        </p:nvSpPr>
        <p:spPr>
          <a:xfrm>
            <a:off x="5494565" y="6458565"/>
            <a:ext cx="644747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pl-PL" altLang="en-US" sz="1200" b="0" kern="1200" dirty="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rPr>
              <a:t>Szkolenie informacyjne</a:t>
            </a:r>
            <a:r>
              <a:rPr lang="pl-PL" altLang="en-US" sz="1200" b="0" kern="1200" baseline="0" dirty="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rPr>
              <a:t> | </a:t>
            </a:r>
            <a:r>
              <a:rPr lang="pl-PL" altLang="en-US" sz="1200" b="0" kern="1200" dirty="0">
                <a:solidFill>
                  <a:schemeClr val="bg1"/>
                </a:solidFill>
                <a:latin typeface="Gotham Light" pitchFamily="50" charset="0"/>
                <a:ea typeface="+mn-ea"/>
                <a:cs typeface="Gotham Light" pitchFamily="50" charset="0"/>
              </a:rPr>
              <a:t>Induction Training</a:t>
            </a:r>
          </a:p>
        </p:txBody>
      </p:sp>
      <p:sp>
        <p:nvSpPr>
          <p:cNvPr id="107" name="Tytuł 1">
            <a:extLst>
              <a:ext uri="{FF2B5EF4-FFF2-40B4-BE49-F238E27FC236}">
                <a16:creationId xmlns:a16="http://schemas.microsoft.com/office/drawing/2014/main" id="{8F4A6FB8-AE39-4EFD-974B-968DB681D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700" y="770297"/>
            <a:ext cx="11658599" cy="736964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000">
                <a:latin typeface="Gotham Book" pitchFamily="50" charset="0"/>
                <a:cs typeface="Gotham Book" pitchFamily="50" charset="0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18548972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A57CA49-BD5C-4C01-9F8D-9D71A2FA9A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25BA9FE6-C1D8-480E-A24A-4CED8C828D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pl-PL"/>
              <a:t>Kliknij, aby edytować styl wzorca podtytułu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C50C1932-F8DC-48E7-83B9-A34CF81B912F}"/>
              </a:ext>
            </a:extLst>
          </p:cNvPr>
          <p:cNvSpPr/>
          <p:nvPr/>
        </p:nvSpPr>
        <p:spPr bwMode="auto">
          <a:xfrm>
            <a:off x="0" y="6325126"/>
            <a:ext cx="12192000" cy="53287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5" name="Picture 4" descr="Archicom | Artefakt">
            <a:extLst>
              <a:ext uri="{FF2B5EF4-FFF2-40B4-BE49-F238E27FC236}">
                <a16:creationId xmlns:a16="http://schemas.microsoft.com/office/drawing/2014/main" id="{0ED07A4D-0BE0-4212-A0A6-F99853AC4E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rostokąt 5">
            <a:extLst>
              <a:ext uri="{FF2B5EF4-FFF2-40B4-BE49-F238E27FC236}">
                <a16:creationId xmlns:a16="http://schemas.microsoft.com/office/drawing/2014/main" id="{104611E4-A88E-4266-9EF1-6371BECBFEE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6520332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A3EAB06-D45C-448A-AF41-A5744F051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59126"/>
            <a:ext cx="7675179" cy="587110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422657F2-DDDA-4A9C-A413-0E605EFE29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pic>
        <p:nvPicPr>
          <p:cNvPr id="1028" name="Picture 4" descr="Archicom | Artefakt">
            <a:extLst>
              <a:ext uri="{FF2B5EF4-FFF2-40B4-BE49-F238E27FC236}">
                <a16:creationId xmlns:a16="http://schemas.microsoft.com/office/drawing/2014/main" id="{677B75E1-CB8B-404F-B0F3-CB6D778810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rostokąt 3">
            <a:extLst>
              <a:ext uri="{FF2B5EF4-FFF2-40B4-BE49-F238E27FC236}">
                <a16:creationId xmlns:a16="http://schemas.microsoft.com/office/drawing/2014/main" id="{03FA9218-507A-4861-AD6D-729D03E7AE9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752308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5DF9C159-484F-4B28-B678-9C74FB1CB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CD5BCA71-3798-44E3-B149-2EB65AD962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pic>
        <p:nvPicPr>
          <p:cNvPr id="4" name="Picture 4" descr="Archicom | Artefakt">
            <a:extLst>
              <a:ext uri="{FF2B5EF4-FFF2-40B4-BE49-F238E27FC236}">
                <a16:creationId xmlns:a16="http://schemas.microsoft.com/office/drawing/2014/main" id="{2FEFE29C-27C7-4CE6-AE80-E49B177CBD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Prostokąt 4">
            <a:extLst>
              <a:ext uri="{FF2B5EF4-FFF2-40B4-BE49-F238E27FC236}">
                <a16:creationId xmlns:a16="http://schemas.microsoft.com/office/drawing/2014/main" id="{4CCD6A8F-D5B9-488E-8282-A048D02F3740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4718740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B3C39578-BBB2-428B-B89B-01F2A3677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6346AA38-AD82-4509-8D0F-7DEBD4BEB70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85682762-AD94-42A8-8D63-7E6E2D6DC7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pic>
        <p:nvPicPr>
          <p:cNvPr id="5" name="Picture 4" descr="Archicom | Artefakt">
            <a:extLst>
              <a:ext uri="{FF2B5EF4-FFF2-40B4-BE49-F238E27FC236}">
                <a16:creationId xmlns:a16="http://schemas.microsoft.com/office/drawing/2014/main" id="{DF8D5B0E-4DA5-48A7-826E-775B64F36A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rostokąt 5">
            <a:extLst>
              <a:ext uri="{FF2B5EF4-FFF2-40B4-BE49-F238E27FC236}">
                <a16:creationId xmlns:a16="http://schemas.microsoft.com/office/drawing/2014/main" id="{309F12A8-1B88-4C69-A05D-EF08D1727B6D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2574049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AFAF630-1673-4486-A4A2-C0725B6171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B55ABFF2-E566-4DC7-87A6-CF772EE5B1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CD1ECB81-6DAA-4C22-8775-0A8C632BFC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>
            <a:extLst>
              <a:ext uri="{FF2B5EF4-FFF2-40B4-BE49-F238E27FC236}">
                <a16:creationId xmlns:a16="http://schemas.microsoft.com/office/drawing/2014/main" id="{7E4A200C-6A41-470B-8349-5AFEF9D7582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6" name="Symbol zastępczy zawartości 5">
            <a:extLst>
              <a:ext uri="{FF2B5EF4-FFF2-40B4-BE49-F238E27FC236}">
                <a16:creationId xmlns:a16="http://schemas.microsoft.com/office/drawing/2014/main" id="{8999D608-8441-4C54-98E0-F53C8D497EB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pic>
        <p:nvPicPr>
          <p:cNvPr id="7" name="Picture 4" descr="Archicom | Artefakt">
            <a:extLst>
              <a:ext uri="{FF2B5EF4-FFF2-40B4-BE49-F238E27FC236}">
                <a16:creationId xmlns:a16="http://schemas.microsoft.com/office/drawing/2014/main" id="{190DB92A-FDB0-4C2F-B74B-D2631538F3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Prostokąt 7">
            <a:extLst>
              <a:ext uri="{FF2B5EF4-FFF2-40B4-BE49-F238E27FC236}">
                <a16:creationId xmlns:a16="http://schemas.microsoft.com/office/drawing/2014/main" id="{0FB860B5-1258-4243-A697-3D57A2742C2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5983587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8F4A6FB8-AE39-4EFD-974B-968DB681D9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pic>
        <p:nvPicPr>
          <p:cNvPr id="3" name="Picture 4" descr="Archicom | Artefakt">
            <a:extLst>
              <a:ext uri="{FF2B5EF4-FFF2-40B4-BE49-F238E27FC236}">
                <a16:creationId xmlns:a16="http://schemas.microsoft.com/office/drawing/2014/main" id="{4CA5E760-4C31-495F-9AF4-61D718FEEB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rostokąt 3">
            <a:extLst>
              <a:ext uri="{FF2B5EF4-FFF2-40B4-BE49-F238E27FC236}">
                <a16:creationId xmlns:a16="http://schemas.microsoft.com/office/drawing/2014/main" id="{BF720A58-6C33-4C14-B836-40B981BCA8C7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0669446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Archicom | Artefakt">
            <a:extLst>
              <a:ext uri="{FF2B5EF4-FFF2-40B4-BE49-F238E27FC236}">
                <a16:creationId xmlns:a16="http://schemas.microsoft.com/office/drawing/2014/main" id="{97FBA575-ACC1-4F85-A790-F7591395DA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Prostokąt 2">
            <a:extLst>
              <a:ext uri="{FF2B5EF4-FFF2-40B4-BE49-F238E27FC236}">
                <a16:creationId xmlns:a16="http://schemas.microsoft.com/office/drawing/2014/main" id="{304A9354-8E70-4F1D-945D-A49F1E5461EC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8726517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A3EAB06-D45C-448A-AF41-A5744F051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59126"/>
            <a:ext cx="7675179" cy="587110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422657F2-DDDA-4A9C-A413-0E605EFE29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03FA9218-507A-4861-AD6D-729D03E7AE9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7674214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0279171F-28EC-4616-9D8C-AAEAEB3F6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F5A54B59-E44C-4045-B7CA-6F553CD191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B81C00C1-45E9-43D7-BBA5-5ECA38CD396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pic>
        <p:nvPicPr>
          <p:cNvPr id="5" name="Picture 4" descr="Archicom | Artefakt">
            <a:extLst>
              <a:ext uri="{FF2B5EF4-FFF2-40B4-BE49-F238E27FC236}">
                <a16:creationId xmlns:a16="http://schemas.microsoft.com/office/drawing/2014/main" id="{C9899499-55FE-49D3-B8A1-42960332FC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rostokąt 5">
            <a:extLst>
              <a:ext uri="{FF2B5EF4-FFF2-40B4-BE49-F238E27FC236}">
                <a16:creationId xmlns:a16="http://schemas.microsoft.com/office/drawing/2014/main" id="{AF1505CB-07AE-474D-92A0-B29BA0740057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1532487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1ABB466E-9827-46B9-AD47-57881D1741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>
            <a:extLst>
              <a:ext uri="{FF2B5EF4-FFF2-40B4-BE49-F238E27FC236}">
                <a16:creationId xmlns:a16="http://schemas.microsoft.com/office/drawing/2014/main" id="{519F0719-6729-49CE-AE9C-287BAF1283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E8C8E960-538D-41D6-95E7-206908F13E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pic>
        <p:nvPicPr>
          <p:cNvPr id="5" name="Picture 4" descr="Archicom | Artefakt">
            <a:extLst>
              <a:ext uri="{FF2B5EF4-FFF2-40B4-BE49-F238E27FC236}">
                <a16:creationId xmlns:a16="http://schemas.microsoft.com/office/drawing/2014/main" id="{F7D61F96-6D96-477E-BBF3-C2B75ACC5A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rostokąt 5">
            <a:extLst>
              <a:ext uri="{FF2B5EF4-FFF2-40B4-BE49-F238E27FC236}">
                <a16:creationId xmlns:a16="http://schemas.microsoft.com/office/drawing/2014/main" id="{D0FAF23A-6483-487D-A54E-4DA9542B05B8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1112070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AB87BCDA-47AF-4426-B127-93EDB4CEF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>
            <a:extLst>
              <a:ext uri="{FF2B5EF4-FFF2-40B4-BE49-F238E27FC236}">
                <a16:creationId xmlns:a16="http://schemas.microsoft.com/office/drawing/2014/main" id="{5C01C3B9-2F55-4622-AA4F-799992AFC6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pic>
        <p:nvPicPr>
          <p:cNvPr id="4" name="Picture 4" descr="Archicom | Artefakt">
            <a:extLst>
              <a:ext uri="{FF2B5EF4-FFF2-40B4-BE49-F238E27FC236}">
                <a16:creationId xmlns:a16="http://schemas.microsoft.com/office/drawing/2014/main" id="{CAAC3A50-27A2-4B20-994F-AE4C18A309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Prostokąt 4">
            <a:extLst>
              <a:ext uri="{FF2B5EF4-FFF2-40B4-BE49-F238E27FC236}">
                <a16:creationId xmlns:a16="http://schemas.microsoft.com/office/drawing/2014/main" id="{56F1F0DC-0AC3-4F45-B74A-ED4B689B4B5F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7154839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>
            <a:extLst>
              <a:ext uri="{FF2B5EF4-FFF2-40B4-BE49-F238E27FC236}">
                <a16:creationId xmlns:a16="http://schemas.microsoft.com/office/drawing/2014/main" id="{80516850-10C3-4A7A-AB78-A9AAB71692E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>
            <a:extLst>
              <a:ext uri="{FF2B5EF4-FFF2-40B4-BE49-F238E27FC236}">
                <a16:creationId xmlns:a16="http://schemas.microsoft.com/office/drawing/2014/main" id="{DC80CA4A-C9E9-42B8-BFC8-CC2F95B2DF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pic>
        <p:nvPicPr>
          <p:cNvPr id="4" name="Picture 4" descr="Archicom | Artefakt">
            <a:extLst>
              <a:ext uri="{FF2B5EF4-FFF2-40B4-BE49-F238E27FC236}">
                <a16:creationId xmlns:a16="http://schemas.microsoft.com/office/drawing/2014/main" id="{9652E2C3-2498-46FA-9811-015E8CA41F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Prostokąt 4">
            <a:extLst>
              <a:ext uri="{FF2B5EF4-FFF2-40B4-BE49-F238E27FC236}">
                <a16:creationId xmlns:a16="http://schemas.microsoft.com/office/drawing/2014/main" id="{B54B0B0D-A6E9-4621-A04D-EFF4F8AF584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3957325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ekst + wstę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iekt 2" hidden="1">
            <a:extLst>
              <a:ext uri="{FF2B5EF4-FFF2-40B4-BE49-F238E27FC236}">
                <a16:creationId xmlns:a16="http://schemas.microsoft.com/office/drawing/2014/main" id="{B11B16B6-C425-4F44-84F7-0FE39A936A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4887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iekt 2" hidden="1">
                        <a:extLst>
                          <a:ext uri="{FF2B5EF4-FFF2-40B4-BE49-F238E27FC236}">
                            <a16:creationId xmlns:a16="http://schemas.microsoft.com/office/drawing/2014/main" id="{B11B16B6-C425-4F44-84F7-0FE39A936AF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rostokąt 1" hidden="1">
            <a:extLst>
              <a:ext uri="{FF2B5EF4-FFF2-40B4-BE49-F238E27FC236}">
                <a16:creationId xmlns:a16="http://schemas.microsoft.com/office/drawing/2014/main" id="{605DEFFF-6347-4D2D-A463-63FA4E5199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5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Symbol zastępczy tekstu 13">
            <a:extLst>
              <a:ext uri="{FF2B5EF4-FFF2-40B4-BE49-F238E27FC236}">
                <a16:creationId xmlns:a16="http://schemas.microsoft.com/office/drawing/2014/main" id="{A82CE220-5890-4741-9C89-D545EB11C89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84457" y="2497131"/>
            <a:ext cx="11016000" cy="3560769"/>
          </a:xfrm>
        </p:spPr>
        <p:txBody>
          <a:bodyPr lIns="0" tIns="0" rIns="0" bIns="0" numCol="3" spcCol="648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9000"/>
              </a:lnSpc>
              <a:spcBef>
                <a:spcPts val="0"/>
              </a:spcBef>
              <a:spcAft>
                <a:spcPts val="140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050" kern="1200" spc="-10" baseline="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 err="1"/>
              <a:t>Edytuj</a:t>
            </a:r>
            <a:r>
              <a:rPr lang="en-GB" noProof="0" dirty="0"/>
              <a:t> style </a:t>
            </a:r>
            <a:r>
              <a:rPr lang="en-GB" noProof="0" dirty="0" err="1"/>
              <a:t>wzorca</a:t>
            </a:r>
            <a:r>
              <a:rPr lang="en-GB" noProof="0" dirty="0"/>
              <a:t> </a:t>
            </a:r>
            <a:r>
              <a:rPr lang="en-GB" noProof="0" dirty="0" err="1"/>
              <a:t>tekstu</a:t>
            </a:r>
            <a:endParaRPr lang="en-GB" noProof="0" dirty="0"/>
          </a:p>
        </p:txBody>
      </p:sp>
      <p:sp>
        <p:nvSpPr>
          <p:cNvPr id="8" name="Symbol zastępczy numeru slajdu 4">
            <a:extLst>
              <a:ext uri="{FF2B5EF4-FFF2-40B4-BE49-F238E27FC236}">
                <a16:creationId xmlns:a16="http://schemas.microsoft.com/office/drawing/2014/main" id="{FF113F57-52F8-4B2E-98A8-DE59A7A2B8E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0" y="6392863"/>
            <a:ext cx="449263" cy="2159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lnSpc>
                <a:spcPct val="108000"/>
              </a:lnSpc>
              <a:spcAft>
                <a:spcPts val="1600"/>
              </a:spcAft>
              <a:defRPr lang="pl-PL" sz="1300" b="0" smtClean="0">
                <a:solidFill>
                  <a:srgbClr val="A6A7A8"/>
                </a:solidFill>
              </a:defRPr>
            </a:lvl1pPr>
          </a:lstStyle>
          <a:p>
            <a:fld id="{A1055B1D-CF23-481A-AA09-9A6EAFA32A46}" type="slidenum">
              <a:rPr lang="pl-PL" smtClean="0"/>
              <a:t>‹#›</a:t>
            </a:fld>
            <a:endParaRPr lang="pl-PL"/>
          </a:p>
        </p:txBody>
      </p:sp>
      <p:sp>
        <p:nvSpPr>
          <p:cNvPr id="10" name="Tytuł 1">
            <a:extLst>
              <a:ext uri="{FF2B5EF4-FFF2-40B4-BE49-F238E27FC236}">
                <a16:creationId xmlns:a16="http://schemas.microsoft.com/office/drawing/2014/main" id="{29FC5633-52C8-4BFE-A0DD-30A72DDAA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457" y="989760"/>
            <a:ext cx="3305457" cy="792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100000"/>
              </a:lnSpc>
              <a:defRPr sz="2500" b="1">
                <a:solidFill>
                  <a:srgbClr val="535459"/>
                </a:solidFill>
              </a:defRPr>
            </a:lvl1pPr>
          </a:lstStyle>
          <a:p>
            <a:r>
              <a:rPr lang="en-GB" dirty="0" err="1"/>
              <a:t>Kliknij</a:t>
            </a:r>
            <a:r>
              <a:rPr lang="en-GB" dirty="0"/>
              <a:t>, aby </a:t>
            </a:r>
            <a:r>
              <a:rPr lang="en-GB" dirty="0" err="1"/>
              <a:t>edytować</a:t>
            </a:r>
            <a:r>
              <a:rPr lang="en-GB" dirty="0"/>
              <a:t> </a:t>
            </a:r>
            <a:r>
              <a:rPr lang="en-GB" dirty="0" err="1"/>
              <a:t>styl</a:t>
            </a:r>
            <a:endParaRPr lang="en-GB" dirty="0"/>
          </a:p>
        </p:txBody>
      </p:sp>
      <p:sp>
        <p:nvSpPr>
          <p:cNvPr id="12" name="Symbol zastępczy tekstu 13">
            <a:extLst>
              <a:ext uri="{FF2B5EF4-FFF2-40B4-BE49-F238E27FC236}">
                <a16:creationId xmlns:a16="http://schemas.microsoft.com/office/drawing/2014/main" id="{EB7633AF-495C-4D40-8C81-CC8EEA434A5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84" y="647685"/>
            <a:ext cx="3304630" cy="31671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535459"/>
                </a:solidFill>
              </a:defRPr>
            </a:lvl1pPr>
          </a:lstStyle>
          <a:p>
            <a:pPr lvl="0"/>
            <a:r>
              <a:rPr lang="en-GB" dirty="0" err="1"/>
              <a:t>Edytuj</a:t>
            </a:r>
            <a:r>
              <a:rPr lang="en-GB" dirty="0"/>
              <a:t> style </a:t>
            </a:r>
            <a:r>
              <a:rPr lang="en-GB" dirty="0" err="1"/>
              <a:t>wzorca</a:t>
            </a:r>
            <a:r>
              <a:rPr lang="en-GB" dirty="0"/>
              <a:t> </a:t>
            </a:r>
            <a:r>
              <a:rPr lang="en-GB" dirty="0" err="1"/>
              <a:t>tekstu</a:t>
            </a:r>
            <a:endParaRPr lang="en-GB" dirty="0"/>
          </a:p>
        </p:txBody>
      </p:sp>
      <p:cxnSp>
        <p:nvCxnSpPr>
          <p:cNvPr id="13" name="Łącznik prosty 12">
            <a:extLst>
              <a:ext uri="{FF2B5EF4-FFF2-40B4-BE49-F238E27FC236}">
                <a16:creationId xmlns:a16="http://schemas.microsoft.com/office/drawing/2014/main" id="{96F2E47E-0388-408C-8103-FCBA9399C960}"/>
              </a:ext>
            </a:extLst>
          </p:cNvPr>
          <p:cNvCxnSpPr>
            <a:cxnSpLocks/>
          </p:cNvCxnSpPr>
          <p:nvPr/>
        </p:nvCxnSpPr>
        <p:spPr>
          <a:xfrm>
            <a:off x="585788" y="2141538"/>
            <a:ext cx="3144837" cy="0"/>
          </a:xfrm>
          <a:prstGeom prst="line">
            <a:avLst/>
          </a:prstGeom>
          <a:ln>
            <a:solidFill>
              <a:srgbClr val="A6A7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14160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E2C5D963-3883-4D45-8E16-5F7316D0EA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1FBCC2-4413-43E4-BF86-9EABF050CDD2}" type="datetimeFigureOut">
              <a:rPr lang="pl-PL" smtClean="0"/>
              <a:t>2024-04-11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A2CD1EC0-68A2-4D8B-A6B0-CAD409530B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B74D7248-4170-4165-A7D5-A7C147EE37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055B1D-CF23-481A-AA09-9A6EAFA32A46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565677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iekt 3" hidden="1">
            <a:extLst>
              <a:ext uri="{FF2B5EF4-FFF2-40B4-BE49-F238E27FC236}">
                <a16:creationId xmlns:a16="http://schemas.microsoft.com/office/drawing/2014/main" id="{45408421-BBA8-4B29-8A46-199255D2DD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7625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iekt 3" hidden="1">
                        <a:extLst>
                          <a:ext uri="{FF2B5EF4-FFF2-40B4-BE49-F238E27FC236}">
                            <a16:creationId xmlns:a16="http://schemas.microsoft.com/office/drawing/2014/main" id="{45408421-BBA8-4B29-8A46-199255D2DDA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rostokąt 2" hidden="1">
            <a:extLst>
              <a:ext uri="{FF2B5EF4-FFF2-40B4-BE49-F238E27FC236}">
                <a16:creationId xmlns:a16="http://schemas.microsoft.com/office/drawing/2014/main" id="{B430D8EF-7CAE-485B-88B9-D9D49E6E673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5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BC79E058-8D12-425A-8799-681C8E420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457" y="989760"/>
            <a:ext cx="3305457" cy="792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100000"/>
              </a:lnSpc>
              <a:defRPr sz="2500" b="1">
                <a:solidFill>
                  <a:srgbClr val="535459"/>
                </a:solidFill>
              </a:defRPr>
            </a:lvl1pPr>
          </a:lstStyle>
          <a:p>
            <a:r>
              <a:rPr lang="en-GB" dirty="0" err="1"/>
              <a:t>Kliknij</a:t>
            </a:r>
            <a:r>
              <a:rPr lang="en-GB" dirty="0"/>
              <a:t>, aby </a:t>
            </a:r>
            <a:r>
              <a:rPr lang="en-GB" dirty="0" err="1"/>
              <a:t>edytować</a:t>
            </a:r>
            <a:r>
              <a:rPr lang="en-GB" dirty="0"/>
              <a:t> </a:t>
            </a:r>
            <a:r>
              <a:rPr lang="en-GB" dirty="0" err="1"/>
              <a:t>styl</a:t>
            </a:r>
            <a:endParaRPr lang="en-GB" dirty="0"/>
          </a:p>
        </p:txBody>
      </p:sp>
      <p:sp>
        <p:nvSpPr>
          <p:cNvPr id="14" name="Symbol zastępczy tekstu 13">
            <a:extLst>
              <a:ext uri="{FF2B5EF4-FFF2-40B4-BE49-F238E27FC236}">
                <a16:creationId xmlns:a16="http://schemas.microsoft.com/office/drawing/2014/main" id="{35E75C0E-4110-4231-AC28-244AD222BB4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84" y="647685"/>
            <a:ext cx="3304630" cy="31671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535459"/>
                </a:solidFill>
              </a:defRPr>
            </a:lvl1pPr>
          </a:lstStyle>
          <a:p>
            <a:pPr lvl="0"/>
            <a:r>
              <a:rPr lang="en-GB" dirty="0" err="1"/>
              <a:t>Edytuj</a:t>
            </a:r>
            <a:r>
              <a:rPr lang="en-GB" dirty="0"/>
              <a:t> style </a:t>
            </a:r>
            <a:r>
              <a:rPr lang="en-GB" dirty="0" err="1"/>
              <a:t>wzorca</a:t>
            </a:r>
            <a:r>
              <a:rPr lang="en-GB" dirty="0"/>
              <a:t> </a:t>
            </a:r>
            <a:r>
              <a:rPr lang="en-GB" dirty="0" err="1"/>
              <a:t>tekstu</a:t>
            </a:r>
            <a:endParaRPr lang="en-GB" dirty="0"/>
          </a:p>
        </p:txBody>
      </p:sp>
      <p:sp>
        <p:nvSpPr>
          <p:cNvPr id="10" name="Symbol zastępczy numeru slajdu 4">
            <a:extLst>
              <a:ext uri="{FF2B5EF4-FFF2-40B4-BE49-F238E27FC236}">
                <a16:creationId xmlns:a16="http://schemas.microsoft.com/office/drawing/2014/main" id="{ACEAD039-469C-42A1-B235-A50020AA648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0" y="6392863"/>
            <a:ext cx="449263" cy="2159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lnSpc>
                <a:spcPct val="108000"/>
              </a:lnSpc>
              <a:spcAft>
                <a:spcPts val="1600"/>
              </a:spcAft>
              <a:defRPr lang="pl-PL" sz="1300" b="0" smtClean="0">
                <a:solidFill>
                  <a:srgbClr val="A6A7A8"/>
                </a:solidFill>
              </a:defRPr>
            </a:lvl1pPr>
          </a:lstStyle>
          <a:p>
            <a:fld id="{A1055B1D-CF23-481A-AA09-9A6EAFA32A46}" type="slidenum">
              <a:rPr lang="pl-PL" smtClean="0"/>
              <a:t>‹#›</a:t>
            </a:fld>
            <a:endParaRPr lang="pl-PL"/>
          </a:p>
        </p:txBody>
      </p:sp>
      <p:graphicFrame>
        <p:nvGraphicFramePr>
          <p:cNvPr id="7" name="Obiekt 6" hidden="1">
            <a:extLst>
              <a:ext uri="{FF2B5EF4-FFF2-40B4-BE49-F238E27FC236}">
                <a16:creationId xmlns:a16="http://schemas.microsoft.com/office/drawing/2014/main" id="{CFD4112D-562E-4FBA-80F2-EFF5A50DC4B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7" name="Obiekt 6" hidden="1">
                        <a:extLst>
                          <a:ext uri="{FF2B5EF4-FFF2-40B4-BE49-F238E27FC236}">
                            <a16:creationId xmlns:a16="http://schemas.microsoft.com/office/drawing/2014/main" id="{CFD4112D-562E-4FBA-80F2-EFF5A50DC4B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rostokąt 7" hidden="1">
            <a:extLst>
              <a:ext uri="{FF2B5EF4-FFF2-40B4-BE49-F238E27FC236}">
                <a16:creationId xmlns:a16="http://schemas.microsoft.com/office/drawing/2014/main" id="{26A5662F-62D4-43D0-8873-04FB4AE4B9B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5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33072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18EA25-863A-47B7-AE1B-3A73ECA52C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5" progId="TCLayout.ActiveDocument.1">
                  <p:embed/>
                </p:oleObj>
              </mc:Choice>
              <mc:Fallback>
                <p:oleObj name="think-cell Slide" r:id="rId5" imgW="344" imgH="34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18EA25-863A-47B7-AE1B-3A73ECA52C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57D947B-2C6D-4419-B9AF-F2F3D693334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pl-PL" sz="204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61987" y="234865"/>
            <a:ext cx="11163437" cy="31402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pl-PL" dirty="0">
                <a:solidFill>
                  <a:srgbClr val="0C57A2"/>
                </a:solidFill>
              </a:defRPr>
            </a:lvl1pPr>
          </a:lstStyle>
          <a:p>
            <a:pPr lvl="0"/>
            <a:r>
              <a:rPr lang="pl-PL" dirty="0" err="1"/>
              <a:t>Click</a:t>
            </a:r>
            <a:r>
              <a:rPr lang="pl-PL" dirty="0"/>
              <a:t> to </a:t>
            </a:r>
            <a:r>
              <a:rPr lang="pl-PL" dirty="0" err="1"/>
              <a:t>edit</a:t>
            </a:r>
            <a:r>
              <a:rPr lang="pl-PL" dirty="0"/>
              <a:t> Master </a:t>
            </a:r>
            <a:r>
              <a:rPr lang="pl-PL" dirty="0" err="1"/>
              <a:t>title</a:t>
            </a:r>
            <a:r>
              <a:rPr lang="pl-PL" dirty="0"/>
              <a:t> style</a:t>
            </a:r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652053" y="6639226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l-PL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pl-PL" sz="816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465075" y="6639226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492"/>
            <a:r>
              <a:rPr lang="pl-PL" sz="816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92" eaLnBrk="1"/>
            <a:endParaRPr lang="pl-PL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D0CB31D-1D08-4806-B0A5-07EED3B43204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403172" y="234865"/>
            <a:ext cx="484298" cy="48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565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7">
          <p15:clr>
            <a:srgbClr val="F26B43"/>
          </p15:clr>
        </p15:guide>
        <p15:guide id="2" pos="96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09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1"/>
          <a:ext cx="2159" cy="16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1"/>
                        <a:ext cx="2159" cy="16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36CF378-F179-4FB5-8B8F-E2299C493C3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pl-PL" sz="204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dirty="0" err="1"/>
              <a:t>Click</a:t>
            </a:r>
            <a:r>
              <a:rPr lang="pl-PL" dirty="0"/>
              <a:t> to </a:t>
            </a:r>
            <a:r>
              <a:rPr lang="pl-PL" dirty="0" err="1"/>
              <a:t>edit</a:t>
            </a:r>
            <a:r>
              <a:rPr lang="pl-PL" dirty="0"/>
              <a:t> Master </a:t>
            </a:r>
            <a:r>
              <a:rPr lang="pl-PL" dirty="0" err="1"/>
              <a:t>title</a:t>
            </a:r>
            <a:r>
              <a:rPr lang="pl-PL" dirty="0"/>
              <a:t> style</a:t>
            </a:r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652053" y="6639226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l-PL" sz="816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pl-PL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465075" y="6639226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492"/>
            <a:r>
              <a:rPr lang="pl-PL" sz="816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92" eaLnBrk="1"/>
            <a:endParaRPr lang="pl-PL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424952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B3C39578-BBB2-428B-B89B-01F2A3677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6346AA38-AD82-4509-8D0F-7DEBD4BEB70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85682762-AD94-42A8-8D63-7E6E2D6DC7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309F12A8-1B88-4C69-A05D-EF08D1727B6D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0017554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AFAF630-1673-4486-A4A2-C0725B6171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B55ABFF2-E566-4DC7-87A6-CF772EE5B1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CD1ECB81-6DAA-4C22-8775-0A8C632BFC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>
            <a:extLst>
              <a:ext uri="{FF2B5EF4-FFF2-40B4-BE49-F238E27FC236}">
                <a16:creationId xmlns:a16="http://schemas.microsoft.com/office/drawing/2014/main" id="{7E4A200C-6A41-470B-8349-5AFEF9D7582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6" name="Symbol zastępczy zawartości 5">
            <a:extLst>
              <a:ext uri="{FF2B5EF4-FFF2-40B4-BE49-F238E27FC236}">
                <a16:creationId xmlns:a16="http://schemas.microsoft.com/office/drawing/2014/main" id="{8999D608-8441-4C54-98E0-F53C8D497EB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8" name="Prostokąt 7">
            <a:extLst>
              <a:ext uri="{FF2B5EF4-FFF2-40B4-BE49-F238E27FC236}">
                <a16:creationId xmlns:a16="http://schemas.microsoft.com/office/drawing/2014/main" id="{0FB860B5-1258-4243-A697-3D57A2742C2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6479568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8F4A6FB8-AE39-4EFD-974B-968DB681D9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BF720A58-6C33-4C14-B836-40B981BCA8C7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5065513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rostokąt 2">
            <a:extLst>
              <a:ext uri="{FF2B5EF4-FFF2-40B4-BE49-F238E27FC236}">
                <a16:creationId xmlns:a16="http://schemas.microsoft.com/office/drawing/2014/main" id="{304A9354-8E70-4F1D-945D-A49F1E5461EC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5258133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0279171F-28EC-4616-9D8C-AAEAEB3F6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F5A54B59-E44C-4045-B7CA-6F553CD191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B81C00C1-45E9-43D7-BBA5-5ECA38CD396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AF1505CB-07AE-474D-92A0-B29BA0740057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271144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1ABB466E-9827-46B9-AD47-57881D1741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>
            <a:extLst>
              <a:ext uri="{FF2B5EF4-FFF2-40B4-BE49-F238E27FC236}">
                <a16:creationId xmlns:a16="http://schemas.microsoft.com/office/drawing/2014/main" id="{519F0719-6729-49CE-AE9C-287BAF1283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E8C8E960-538D-41D6-95E7-206908F13E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D0FAF23A-6483-487D-A54E-4DA9542B05B8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9254075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rostokąt 5">
            <a:extLst>
              <a:ext uri="{FF2B5EF4-FFF2-40B4-BE49-F238E27FC236}">
                <a16:creationId xmlns:a16="http://schemas.microsoft.com/office/drawing/2014/main" id="{C9BFCF1E-FE7E-4E52-B429-1A2987159626}"/>
              </a:ext>
            </a:extLst>
          </p:cNvPr>
          <p:cNvSpPr/>
          <p:nvPr userDrawn="1"/>
        </p:nvSpPr>
        <p:spPr>
          <a:xfrm>
            <a:off x="5494565" y="6458565"/>
            <a:ext cx="644747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pl-PL" altLang="en-US" sz="1200" b="0" kern="1200" dirty="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rPr>
              <a:t>Szkolenie informacyjne</a:t>
            </a:r>
            <a:r>
              <a:rPr lang="pl-PL" altLang="en-US" sz="1200" b="0" kern="1200" baseline="0" dirty="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rPr>
              <a:t> | </a:t>
            </a:r>
            <a:r>
              <a:rPr lang="pl-PL" altLang="en-US" sz="1200" b="0" kern="1200" dirty="0">
                <a:solidFill>
                  <a:schemeClr val="bg1"/>
                </a:solidFill>
                <a:latin typeface="Gotham Light" pitchFamily="50" charset="0"/>
                <a:ea typeface="+mn-ea"/>
                <a:cs typeface="Gotham Light" pitchFamily="50" charset="0"/>
              </a:rPr>
              <a:t>Induction Training</a:t>
            </a:r>
          </a:p>
        </p:txBody>
      </p:sp>
    </p:spTree>
    <p:extLst>
      <p:ext uri="{BB962C8B-B14F-4D97-AF65-F5344CB8AC3E}">
        <p14:creationId xmlns:p14="http://schemas.microsoft.com/office/powerpoint/2010/main" val="4671803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" Type="http://schemas.openxmlformats.org/officeDocument/2006/relationships/theme" Target="../theme/theme3.xml"/><Relationship Id="rId21" Type="http://schemas.openxmlformats.org/officeDocument/2006/relationships/tags" Target="../tags/tag24.xml"/><Relationship Id="rId34" Type="http://schemas.openxmlformats.org/officeDocument/2006/relationships/image" Target="../media/image4.emf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oleObject" Target="../embeddings/oleObject3.bin"/><Relationship Id="rId2" Type="http://schemas.openxmlformats.org/officeDocument/2006/relationships/slideLayout" Target="../slideLayouts/slideLayout28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1" Type="http://schemas.openxmlformats.org/officeDocument/2006/relationships/slideLayout" Target="../slideLayouts/slideLayout27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8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>
            <a:extLst>
              <a:ext uri="{FF2B5EF4-FFF2-40B4-BE49-F238E27FC236}">
                <a16:creationId xmlns:a16="http://schemas.microsoft.com/office/drawing/2014/main" id="{6F2ACC88-E51F-415F-848A-173E98E1F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E4FCDC65-8F0A-4A35-847D-64B86ECEBA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7C8AD378-8C3B-4112-B6FD-0C14FE8E049B}"/>
              </a:ext>
            </a:extLst>
          </p:cNvPr>
          <p:cNvSpPr/>
          <p:nvPr/>
        </p:nvSpPr>
        <p:spPr bwMode="auto">
          <a:xfrm>
            <a:off x="0" y="6325126"/>
            <a:ext cx="12192000" cy="53287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D84F2B17-E94C-4EAC-A792-B1E8C1DD804F}"/>
              </a:ext>
            </a:extLst>
          </p:cNvPr>
          <p:cNvSpPr/>
          <p:nvPr/>
        </p:nvSpPr>
        <p:spPr>
          <a:xfrm>
            <a:off x="0" y="6312877"/>
            <a:ext cx="12192000" cy="545123"/>
          </a:xfrm>
          <a:prstGeom prst="rect">
            <a:avLst/>
          </a:prstGeom>
          <a:solidFill>
            <a:srgbClr val="5354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60B0C097-8709-4719-A15C-1177A9AEDFDE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817" y="229213"/>
            <a:ext cx="968766" cy="379299"/>
          </a:xfrm>
          <a:prstGeom prst="rect">
            <a:avLst/>
          </a:prstGeom>
        </p:spPr>
      </p:pic>
      <p:sp>
        <p:nvSpPr>
          <p:cNvPr id="10" name="Prostokąt 9">
            <a:extLst>
              <a:ext uri="{FF2B5EF4-FFF2-40B4-BE49-F238E27FC236}">
                <a16:creationId xmlns:a16="http://schemas.microsoft.com/office/drawing/2014/main" id="{D1198D9C-2AC6-40DD-B41C-3556EC832B24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pic>
        <p:nvPicPr>
          <p:cNvPr id="9" name="Picture 4" descr="Archicom | Artefakt">
            <a:extLst>
              <a:ext uri="{FF2B5EF4-FFF2-40B4-BE49-F238E27FC236}">
                <a16:creationId xmlns:a16="http://schemas.microsoft.com/office/drawing/2014/main" id="{81A14D33-0330-4DAD-82A8-B7131B4056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3817" y="26761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9949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14" r:id="rId9"/>
    <p:sldLayoutId id="2147483715" r:id="rId10"/>
    <p:sldLayoutId id="2147483716" r:id="rId11"/>
    <p:sldLayoutId id="2147483717" r:id="rId12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>
            <a:extLst>
              <a:ext uri="{FF2B5EF4-FFF2-40B4-BE49-F238E27FC236}">
                <a16:creationId xmlns:a16="http://schemas.microsoft.com/office/drawing/2014/main" id="{6F2ACC88-E51F-415F-848A-173E98E1F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E4FCDC65-8F0A-4A35-847D-64B86ECEBA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7C8AD378-8C3B-4112-B6FD-0C14FE8E049B}"/>
              </a:ext>
            </a:extLst>
          </p:cNvPr>
          <p:cNvSpPr/>
          <p:nvPr/>
        </p:nvSpPr>
        <p:spPr bwMode="auto">
          <a:xfrm>
            <a:off x="0" y="6325126"/>
            <a:ext cx="12192000" cy="53287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D84F2B17-E94C-4EAC-A792-B1E8C1DD804F}"/>
              </a:ext>
            </a:extLst>
          </p:cNvPr>
          <p:cNvSpPr/>
          <p:nvPr/>
        </p:nvSpPr>
        <p:spPr>
          <a:xfrm>
            <a:off x="0" y="6312877"/>
            <a:ext cx="12192000" cy="545123"/>
          </a:xfrm>
          <a:prstGeom prst="rect">
            <a:avLst/>
          </a:prstGeom>
          <a:solidFill>
            <a:srgbClr val="5354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60B0C097-8709-4719-A15C-1177A9AEDFDE}"/>
              </a:ext>
            </a:extLst>
          </p:cNvPr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817" y="229213"/>
            <a:ext cx="968766" cy="379299"/>
          </a:xfrm>
          <a:prstGeom prst="rect">
            <a:avLst/>
          </a:prstGeom>
        </p:spPr>
      </p:pic>
      <p:pic>
        <p:nvPicPr>
          <p:cNvPr id="9" name="Picture 4" descr="Archicom | Artefakt">
            <a:extLst>
              <a:ext uri="{FF2B5EF4-FFF2-40B4-BE49-F238E27FC236}">
                <a16:creationId xmlns:a16="http://schemas.microsoft.com/office/drawing/2014/main" id="{81A14D33-0330-4DAD-82A8-B7131B4056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6" y="0"/>
            <a:ext cx="1543050" cy="745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Prostokąt 9">
            <a:extLst>
              <a:ext uri="{FF2B5EF4-FFF2-40B4-BE49-F238E27FC236}">
                <a16:creationId xmlns:a16="http://schemas.microsoft.com/office/drawing/2014/main" id="{D1198D9C-2AC6-40DD-B41C-3556EC832B24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3451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1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5"/>
            </p:custDataLst>
          </p:nvPr>
        </p:nvSpPr>
        <p:spPr bwMode="auto">
          <a:xfrm>
            <a:off x="0" y="1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pl-PL" sz="2040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61073" y="1979058"/>
            <a:ext cx="2271798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l-PL" sz="612" baseline="0">
                <a:solidFill>
                  <a:srgbClr val="808080"/>
                </a:solidFill>
                <a:latin typeface="+mn-lt"/>
                <a:ea typeface="+mn-ea"/>
              </a:rPr>
              <a:t>Last Modified 05.11.2019 09:26 Europa Zachodnia (czas stand.)</a:t>
            </a:r>
            <a:endParaRPr lang="pl-PL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22404" y="4197038"/>
            <a:ext cx="214913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l-PL" sz="612" baseline="0" dirty="0">
                <a:solidFill>
                  <a:srgbClr val="808080"/>
                </a:solidFill>
                <a:latin typeface="+mn-lt"/>
                <a:ea typeface="+mn-ea"/>
              </a:rPr>
              <a:t>Printed 3/15/2019 7:46 PM Central European Standard Time</a:t>
            </a:r>
            <a:endParaRPr lang="pl-PL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pl-PL" dirty="0" err="1"/>
              <a:t>Click</a:t>
            </a:r>
            <a:r>
              <a:rPr lang="pl-PL" dirty="0"/>
              <a:t> to </a:t>
            </a:r>
            <a:r>
              <a:rPr lang="pl-PL" dirty="0" err="1"/>
              <a:t>edit</a:t>
            </a:r>
            <a:r>
              <a:rPr lang="pl-PL" dirty="0"/>
              <a:t> Master </a:t>
            </a:r>
            <a:r>
              <a:rPr lang="pl-PL" dirty="0" err="1"/>
              <a:t>title</a:t>
            </a:r>
            <a:r>
              <a:rPr lang="pl-PL" dirty="0"/>
              <a:t> style</a:t>
            </a:r>
            <a:endParaRPr lang="pl-PL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l-PL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l-PL" sz="1632" baseline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7" y="6432274"/>
            <a:ext cx="117254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l-PL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3"/>
            <a:ext cx="9795571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52" indent="-621952" defTabSz="913492">
              <a:tabLst>
                <a:tab pos="643008" algn="l"/>
              </a:tabLst>
            </a:pPr>
            <a:r>
              <a:rPr lang="pl-PL" sz="816" baseline="0" dirty="0">
                <a:solidFill>
                  <a:schemeClr val="accent6"/>
                </a:solidFill>
                <a:latin typeface="+mn-lt"/>
                <a:ea typeface="+mn-ea"/>
              </a:rPr>
              <a:t>ŻRÓDŁO: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1991016"/>
            <a:ext cx="5853024" cy="113050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pl-PL" dirty="0"/>
              <a:t>Edit Master </a:t>
            </a:r>
            <a:r>
              <a:rPr lang="pl-PL" dirty="0" err="1"/>
              <a:t>text</a:t>
            </a:r>
            <a:r>
              <a:rPr lang="pl-PL" dirty="0"/>
              <a:t> </a:t>
            </a:r>
            <a:r>
              <a:rPr lang="pl-PL" dirty="0" err="1"/>
              <a:t>styles</a:t>
            </a:r>
            <a:endParaRPr lang="pl-PL" dirty="0"/>
          </a:p>
          <a:p>
            <a:pPr lvl="1" latinLnBrk="0"/>
            <a:r>
              <a:rPr lang="pl-PL" dirty="0"/>
              <a:t>Second </a:t>
            </a:r>
            <a:r>
              <a:rPr lang="pl-PL" dirty="0" err="1"/>
              <a:t>level</a:t>
            </a:r>
            <a:endParaRPr lang="pl-PL" dirty="0"/>
          </a:p>
          <a:p>
            <a:pPr lvl="2" latinLnBrk="0"/>
            <a:r>
              <a:rPr lang="pl-PL" dirty="0"/>
              <a:t>Third </a:t>
            </a:r>
            <a:r>
              <a:rPr lang="pl-PL" dirty="0" err="1"/>
              <a:t>level</a:t>
            </a:r>
            <a:endParaRPr lang="pl-PL" dirty="0"/>
          </a:p>
          <a:p>
            <a:pPr lvl="3" latinLnBrk="0"/>
            <a:r>
              <a:rPr lang="pl-PL" dirty="0" err="1"/>
              <a:t>Fourth</a:t>
            </a:r>
            <a:r>
              <a:rPr lang="pl-PL" dirty="0"/>
              <a:t> </a:t>
            </a:r>
            <a:r>
              <a:rPr lang="pl-PL" dirty="0" err="1"/>
              <a:t>level</a:t>
            </a:r>
            <a:endParaRPr lang="pl-PL" dirty="0"/>
          </a:p>
          <a:p>
            <a:pPr lvl="4" latinLnBrk="0"/>
            <a:r>
              <a:rPr lang="pl-PL" dirty="0" err="1"/>
              <a:t>Fifth</a:t>
            </a:r>
            <a:r>
              <a:rPr lang="pl-PL" dirty="0"/>
              <a:t> </a:t>
            </a:r>
            <a:r>
              <a:rPr lang="pl-PL" dirty="0" err="1"/>
              <a:t>level</a:t>
            </a:r>
            <a:endParaRPr lang="pl-PL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4"/>
            <a:ext cx="5801189" cy="531278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l-PL" sz="1632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pl-PL" sz="1632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94696" y="291555"/>
            <a:ext cx="492769" cy="156360"/>
            <a:chOff x="8378577" y="285750"/>
            <a:chExt cx="362198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7" y="285750"/>
              <a:ext cx="362198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92">
                <a:buClr>
                  <a:srgbClr val="002960"/>
                </a:buClr>
              </a:pPr>
              <a:r>
                <a:rPr lang="pl-PL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7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7" y="438997"/>
              <a:ext cx="36219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11576462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pl-PL" sz="1632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92" eaLnBrk="1"/>
            <a:endParaRPr lang="pl-PL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10263061" y="277886"/>
            <a:ext cx="1392630" cy="781397"/>
            <a:chOff x="7607284" y="279400"/>
            <a:chExt cx="1023619" cy="765841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8169259" y="279400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8169259" y="546100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825501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10682062" y="277991"/>
            <a:ext cx="973632" cy="1053514"/>
            <a:chOff x="5894005" y="919828"/>
            <a:chExt cx="715645" cy="1032542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6148005" y="919828"/>
              <a:ext cx="461645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6148005" y="1189703"/>
              <a:ext cx="461645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1461166"/>
              <a:ext cx="461645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732630"/>
              <a:ext cx="461645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10591354" y="277480"/>
            <a:ext cx="1064343" cy="1348138"/>
            <a:chOff x="5894005" y="2695123"/>
            <a:chExt cx="782319" cy="1321299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6214680" y="2696542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6214680" y="2974157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3248595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3521448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796682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58" name="Slide Number">
            <a:extLst>
              <a:ext uri="{FF2B5EF4-FFF2-40B4-BE49-F238E27FC236}">
                <a16:creationId xmlns:a16="http://schemas.microsoft.com/office/drawing/2014/main" id="{F7995FE0-8ABB-4ED8-9F49-C38B4443320A}"/>
              </a:ext>
            </a:extLst>
          </p:cNvPr>
          <p:cNvSpPr txBox="1">
            <a:spLocks/>
          </p:cNvSpPr>
          <p:nvPr/>
        </p:nvSpPr>
        <p:spPr bwMode="auto">
          <a:xfrm>
            <a:off x="11652053" y="6639226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l-PL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pl-PL" sz="816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86674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</p:sldLayoutIdLst>
  <p:txStyles>
    <p:titleStyle>
      <a:lvl1pPr algn="l" defTabSz="913492" rtl="0" eaLnBrk="1" fontAlgn="base" hangingPunct="1">
        <a:spcBef>
          <a:spcPct val="0"/>
        </a:spcBef>
        <a:spcAft>
          <a:spcPct val="0"/>
        </a:spcAft>
        <a:tabLst>
          <a:tab pos="275343" algn="l"/>
        </a:tabLst>
        <a:defRPr sz="2040" b="0" baseline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64"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29"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391"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856"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599" indent="-195980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28" baseline="0">
          <a:solidFill>
            <a:schemeClr val="tx1"/>
          </a:solidFill>
          <a:latin typeface="+mn-lt"/>
        </a:defRPr>
      </a:lvl2pPr>
      <a:lvl3pPr marL="466464" indent="-267245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28" baseline="0">
          <a:solidFill>
            <a:schemeClr val="tx1"/>
          </a:solidFill>
          <a:latin typeface="+mn-lt"/>
        </a:defRPr>
      </a:lvl3pPr>
      <a:lvl4pPr marL="626812" indent="-158727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28" baseline="0">
          <a:solidFill>
            <a:schemeClr val="tx1"/>
          </a:solidFill>
          <a:latin typeface="+mn-lt"/>
        </a:defRPr>
      </a:lvl4pPr>
      <a:lvl5pPr marL="765001" indent="-132812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28" baseline="0">
          <a:solidFill>
            <a:schemeClr val="tx1"/>
          </a:solidFill>
          <a:latin typeface="+mn-lt"/>
        </a:defRPr>
      </a:lvl5pPr>
      <a:lvl6pPr marL="765001" indent="-132812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01" indent="-132812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01" indent="-132812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01" indent="-132812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464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929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9391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856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2320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8785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5249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1714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jpeg"/><Relationship Id="rId5" Type="http://schemas.openxmlformats.org/officeDocument/2006/relationships/image" Target="../media/image50.jpeg"/><Relationship Id="rId4" Type="http://schemas.openxmlformats.org/officeDocument/2006/relationships/hyperlink" Target="https://www.google.pl/url?sa=i&amp;rct=j&amp;q=&amp;esrc=s&amp;source=images&amp;cd=&amp;ved=2ahUKEwiT0Nzmiq_iAhVoposKHQ1oBQAQjRx6BAgBEAU&amp;url=https://www.patakontakt.pl/pl/p/PIERWSZA-POMOC-APTECZKA-KRZYZ/811&amp;psig=AOvVaw3bNvGQSDLaDY3UBla9KYdh&amp;ust=1558612668781264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63.png"/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12" Type="http://schemas.openxmlformats.org/officeDocument/2006/relationships/image" Target="../media/image6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6.png"/><Relationship Id="rId11" Type="http://schemas.openxmlformats.org/officeDocument/2006/relationships/image" Target="../media/image61.png"/><Relationship Id="rId5" Type="http://schemas.openxmlformats.org/officeDocument/2006/relationships/image" Target="../media/image55.png"/><Relationship Id="rId10" Type="http://schemas.openxmlformats.org/officeDocument/2006/relationships/image" Target="../media/image60.png"/><Relationship Id="rId4" Type="http://schemas.openxmlformats.org/officeDocument/2006/relationships/image" Target="../media/image54.png"/><Relationship Id="rId9" Type="http://schemas.openxmlformats.org/officeDocument/2006/relationships/image" Target="../media/image5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9.jpeg"/><Relationship Id="rId4" Type="http://schemas.openxmlformats.org/officeDocument/2006/relationships/image" Target="../media/image68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2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image" Target="../media/image77.jpeg"/><Relationship Id="rId7" Type="http://schemas.openxmlformats.org/officeDocument/2006/relationships/image" Target="../media/image81.png"/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0.jpeg"/><Relationship Id="rId5" Type="http://schemas.openxmlformats.org/officeDocument/2006/relationships/image" Target="../media/image79.png"/><Relationship Id="rId4" Type="http://schemas.openxmlformats.org/officeDocument/2006/relationships/image" Target="../media/image78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7" Type="http://schemas.openxmlformats.org/officeDocument/2006/relationships/image" Target="../media/image89.png"/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8.jpeg"/><Relationship Id="rId5" Type="http://schemas.openxmlformats.org/officeDocument/2006/relationships/image" Target="../media/image87.jpeg"/><Relationship Id="rId4" Type="http://schemas.openxmlformats.org/officeDocument/2006/relationships/image" Target="../media/image86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image" Target="../media/image90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eg"/><Relationship Id="rId2" Type="http://schemas.openxmlformats.org/officeDocument/2006/relationships/image" Target="../media/image9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5.jpeg"/><Relationship Id="rId4" Type="http://schemas.openxmlformats.org/officeDocument/2006/relationships/image" Target="../media/image94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eg"/><Relationship Id="rId2" Type="http://schemas.openxmlformats.org/officeDocument/2006/relationships/image" Target="../media/image9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9.jpeg"/><Relationship Id="rId4" Type="http://schemas.openxmlformats.org/officeDocument/2006/relationships/image" Target="../media/image98.jpe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png"/><Relationship Id="rId3" Type="http://schemas.openxmlformats.org/officeDocument/2006/relationships/image" Target="../media/image102.jpeg"/><Relationship Id="rId7" Type="http://schemas.openxmlformats.org/officeDocument/2006/relationships/image" Target="../media/image106.jpeg"/><Relationship Id="rId2" Type="http://schemas.openxmlformats.org/officeDocument/2006/relationships/image" Target="../media/image10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5.jpeg"/><Relationship Id="rId5" Type="http://schemas.openxmlformats.org/officeDocument/2006/relationships/image" Target="../media/image104.jpeg"/><Relationship Id="rId4" Type="http://schemas.openxmlformats.org/officeDocument/2006/relationships/image" Target="../media/image103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png"/><Relationship Id="rId3" Type="http://schemas.openxmlformats.org/officeDocument/2006/relationships/image" Target="../media/image109.emf"/><Relationship Id="rId7" Type="http://schemas.openxmlformats.org/officeDocument/2006/relationships/image" Target="../media/image113.emf"/><Relationship Id="rId2" Type="http://schemas.openxmlformats.org/officeDocument/2006/relationships/image" Target="../media/image108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2.emf"/><Relationship Id="rId5" Type="http://schemas.openxmlformats.org/officeDocument/2006/relationships/image" Target="../media/image111.emf"/><Relationship Id="rId4" Type="http://schemas.openxmlformats.org/officeDocument/2006/relationships/image" Target="../media/image110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jpeg"/><Relationship Id="rId2" Type="http://schemas.openxmlformats.org/officeDocument/2006/relationships/image" Target="../media/image11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2.png"/><Relationship Id="rId4" Type="http://schemas.openxmlformats.org/officeDocument/2006/relationships/image" Target="../media/image11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2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jpeg"/><Relationship Id="rId2" Type="http://schemas.openxmlformats.org/officeDocument/2006/relationships/image" Target="../media/image12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1.png"/><Relationship Id="rId5" Type="http://schemas.openxmlformats.org/officeDocument/2006/relationships/image" Target="../media/image82.png"/><Relationship Id="rId4" Type="http://schemas.openxmlformats.org/officeDocument/2006/relationships/image" Target="../media/image127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jpeg"/><Relationship Id="rId2" Type="http://schemas.openxmlformats.org/officeDocument/2006/relationships/image" Target="../media/image12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0.jpe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1.jpe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2.jpe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jpeg"/><Relationship Id="rId2" Type="http://schemas.openxmlformats.org/officeDocument/2006/relationships/image" Target="../media/image133.jpe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5.jpe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jpeg"/><Relationship Id="rId2" Type="http://schemas.openxmlformats.org/officeDocument/2006/relationships/image" Target="../media/image13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jpeg"/><Relationship Id="rId2" Type="http://schemas.openxmlformats.org/officeDocument/2006/relationships/image" Target="../media/image139.jpe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2.png"/><Relationship Id="rId4" Type="http://schemas.openxmlformats.org/officeDocument/2006/relationships/oleObject" Target="../embeddings/oleObject6.bin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8.png"/><Relationship Id="rId3" Type="http://schemas.openxmlformats.org/officeDocument/2006/relationships/image" Target="../media/image143.png"/><Relationship Id="rId7" Type="http://schemas.openxmlformats.org/officeDocument/2006/relationships/image" Target="../media/image14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6.png"/><Relationship Id="rId11" Type="http://schemas.openxmlformats.org/officeDocument/2006/relationships/image" Target="../media/image151.jpeg"/><Relationship Id="rId5" Type="http://schemas.openxmlformats.org/officeDocument/2006/relationships/image" Target="../media/image145.png"/><Relationship Id="rId10" Type="http://schemas.openxmlformats.org/officeDocument/2006/relationships/image" Target="../media/image150.png"/><Relationship Id="rId4" Type="http://schemas.openxmlformats.org/officeDocument/2006/relationships/image" Target="../media/image144.png"/><Relationship Id="rId9" Type="http://schemas.openxmlformats.org/officeDocument/2006/relationships/image" Target="../media/image14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3.png"/><Relationship Id="rId2" Type="http://schemas.openxmlformats.org/officeDocument/2006/relationships/image" Target="../media/image15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4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6.jpeg"/><Relationship Id="rId2" Type="http://schemas.openxmlformats.org/officeDocument/2006/relationships/image" Target="../media/image15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7.jpe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9.jpeg"/><Relationship Id="rId4" Type="http://schemas.openxmlformats.org/officeDocument/2006/relationships/image" Target="../media/image158.jpe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jpeg"/><Relationship Id="rId7" Type="http://schemas.openxmlformats.org/officeDocument/2006/relationships/image" Target="../media/image165.png"/><Relationship Id="rId2" Type="http://schemas.openxmlformats.org/officeDocument/2006/relationships/image" Target="../media/image16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4.jpeg"/><Relationship Id="rId5" Type="http://schemas.openxmlformats.org/officeDocument/2006/relationships/image" Target="../media/image163.jpeg"/><Relationship Id="rId4" Type="http://schemas.openxmlformats.org/officeDocument/2006/relationships/image" Target="../media/image162.jpe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6.jpe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7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0.png"/><Relationship Id="rId4" Type="http://schemas.openxmlformats.org/officeDocument/2006/relationships/image" Target="../media/image169.png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9.png"/><Relationship Id="rId7" Type="http://schemas.openxmlformats.org/officeDocument/2006/relationships/diagramColors" Target="../diagrams/colors1.xml"/><Relationship Id="rId12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diagramQuickStyle" Target="../diagrams/quickStyle1.xml"/><Relationship Id="rId11" Type="http://schemas.openxmlformats.org/officeDocument/2006/relationships/image" Target="../media/image15.png"/><Relationship Id="rId5" Type="http://schemas.openxmlformats.org/officeDocument/2006/relationships/diagramLayout" Target="../diagrams/layout1.xml"/><Relationship Id="rId10" Type="http://schemas.openxmlformats.org/officeDocument/2006/relationships/image" Target="../media/image14.png"/><Relationship Id="rId4" Type="http://schemas.openxmlformats.org/officeDocument/2006/relationships/diagramData" Target="../diagrams/data1.xml"/><Relationship Id="rId9" Type="http://schemas.openxmlformats.org/officeDocument/2006/relationships/image" Target="../media/image13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7.png"/><Relationship Id="rId3" Type="http://schemas.openxmlformats.org/officeDocument/2006/relationships/image" Target="../media/image172.png"/><Relationship Id="rId7" Type="http://schemas.openxmlformats.org/officeDocument/2006/relationships/image" Target="../media/image17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5.png"/><Relationship Id="rId5" Type="http://schemas.openxmlformats.org/officeDocument/2006/relationships/image" Target="../media/image174.jpeg"/><Relationship Id="rId4" Type="http://schemas.openxmlformats.org/officeDocument/2006/relationships/image" Target="../media/image173.png"/><Relationship Id="rId9" Type="http://schemas.openxmlformats.org/officeDocument/2006/relationships/image" Target="../media/image178.jpe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jpeg"/><Relationship Id="rId2" Type="http://schemas.openxmlformats.org/officeDocument/2006/relationships/image" Target="../media/image17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3.jpeg"/><Relationship Id="rId5" Type="http://schemas.openxmlformats.org/officeDocument/2006/relationships/image" Target="../media/image182.jpeg"/><Relationship Id="rId4" Type="http://schemas.openxmlformats.org/officeDocument/2006/relationships/image" Target="../media/image181.jpe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5.jpeg"/><Relationship Id="rId2" Type="http://schemas.openxmlformats.org/officeDocument/2006/relationships/image" Target="../media/image184.jpe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7.png"/><Relationship Id="rId7" Type="http://schemas.openxmlformats.org/officeDocument/2006/relationships/image" Target="../media/image191.png"/><Relationship Id="rId2" Type="http://schemas.openxmlformats.org/officeDocument/2006/relationships/image" Target="../media/image18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0.png"/><Relationship Id="rId5" Type="http://schemas.openxmlformats.org/officeDocument/2006/relationships/image" Target="../media/image189.png"/><Relationship Id="rId4" Type="http://schemas.openxmlformats.org/officeDocument/2006/relationships/image" Target="../media/image188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4.png"/><Relationship Id="rId4" Type="http://schemas.openxmlformats.org/officeDocument/2006/relationships/image" Target="../media/image193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6.jpe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8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9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0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1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2.jpe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3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3.png"/><Relationship Id="rId5" Type="http://schemas.openxmlformats.org/officeDocument/2006/relationships/image" Target="../media/image22.jpeg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13" Type="http://schemas.openxmlformats.org/officeDocument/2006/relationships/image" Target="../media/image35.jpeg"/><Relationship Id="rId18" Type="http://schemas.openxmlformats.org/officeDocument/2006/relationships/image" Target="../media/image40.jpeg"/><Relationship Id="rId3" Type="http://schemas.openxmlformats.org/officeDocument/2006/relationships/image" Target="../media/image25.jpeg"/><Relationship Id="rId21" Type="http://schemas.openxmlformats.org/officeDocument/2006/relationships/image" Target="../media/image43.png"/><Relationship Id="rId7" Type="http://schemas.openxmlformats.org/officeDocument/2006/relationships/image" Target="../media/image29.jpeg"/><Relationship Id="rId12" Type="http://schemas.openxmlformats.org/officeDocument/2006/relationships/image" Target="../media/image34.jpeg"/><Relationship Id="rId17" Type="http://schemas.openxmlformats.org/officeDocument/2006/relationships/image" Target="../media/image39.jpeg"/><Relationship Id="rId2" Type="http://schemas.openxmlformats.org/officeDocument/2006/relationships/image" Target="../media/image9.png"/><Relationship Id="rId16" Type="http://schemas.openxmlformats.org/officeDocument/2006/relationships/image" Target="../media/image38.jpeg"/><Relationship Id="rId20" Type="http://schemas.openxmlformats.org/officeDocument/2006/relationships/image" Target="../media/image42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8.jpeg"/><Relationship Id="rId11" Type="http://schemas.openxmlformats.org/officeDocument/2006/relationships/image" Target="../media/image33.jpeg"/><Relationship Id="rId24" Type="http://schemas.openxmlformats.org/officeDocument/2006/relationships/image" Target="../media/image46.png"/><Relationship Id="rId5" Type="http://schemas.openxmlformats.org/officeDocument/2006/relationships/image" Target="../media/image27.jpeg"/><Relationship Id="rId15" Type="http://schemas.openxmlformats.org/officeDocument/2006/relationships/image" Target="../media/image37.jpeg"/><Relationship Id="rId23" Type="http://schemas.openxmlformats.org/officeDocument/2006/relationships/image" Target="../media/image45.png"/><Relationship Id="rId10" Type="http://schemas.openxmlformats.org/officeDocument/2006/relationships/image" Target="../media/image32.jpeg"/><Relationship Id="rId19" Type="http://schemas.openxmlformats.org/officeDocument/2006/relationships/image" Target="../media/image41.jpeg"/><Relationship Id="rId4" Type="http://schemas.openxmlformats.org/officeDocument/2006/relationships/image" Target="../media/image26.jpeg"/><Relationship Id="rId9" Type="http://schemas.openxmlformats.org/officeDocument/2006/relationships/image" Target="../media/image31.jpeg"/><Relationship Id="rId14" Type="http://schemas.openxmlformats.org/officeDocument/2006/relationships/image" Target="../media/image36.png"/><Relationship Id="rId22" Type="http://schemas.openxmlformats.org/officeDocument/2006/relationships/image" Target="../media/image4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Archicom - Expander">
            <a:extLst>
              <a:ext uri="{FF2B5EF4-FFF2-40B4-BE49-F238E27FC236}">
                <a16:creationId xmlns:a16="http://schemas.microsoft.com/office/drawing/2014/main" id="{A23BC30C-B052-433E-BFD8-94E334B529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0654" y="3620386"/>
            <a:ext cx="4694920" cy="1291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Prostokąt 4">
            <a:extLst>
              <a:ext uri="{FF2B5EF4-FFF2-40B4-BE49-F238E27FC236}">
                <a16:creationId xmlns:a16="http://schemas.microsoft.com/office/drawing/2014/main" id="{4D9F8FBE-9C89-4233-8F57-E8A5AF553057}"/>
              </a:ext>
            </a:extLst>
          </p:cNvPr>
          <p:cNvSpPr/>
          <p:nvPr/>
        </p:nvSpPr>
        <p:spPr>
          <a:xfrm>
            <a:off x="329791" y="1390112"/>
            <a:ext cx="11862209" cy="101566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ova Cond" panose="020B0506020202020204" pitchFamily="34" charset="0"/>
              </a:rPr>
              <a:t>Szkolenie informacyjne BHP dla pracowników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2800" b="1" dirty="0">
                <a:solidFill>
                  <a:schemeClr val="bg1">
                    <a:lumMod val="6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ova Cond" panose="020B0506020202020204" pitchFamily="34" charset="0"/>
              </a:rPr>
              <a:t>EHS Induction training for </a:t>
            </a:r>
            <a:r>
              <a:rPr lang="pl-PL" sz="2800" b="1" dirty="0" err="1">
                <a:solidFill>
                  <a:schemeClr val="bg1">
                    <a:lumMod val="6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ova Cond" panose="020B0506020202020204" pitchFamily="34" charset="0"/>
              </a:rPr>
              <a:t>employees</a:t>
            </a:r>
            <a:endParaRPr kumimoji="0" lang="pl-PL" sz="28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 Nova Cond" panose="020B0506020202020204" pitchFamily="34" charset="0"/>
            </a:endParaRPr>
          </a:p>
        </p:txBody>
      </p:sp>
      <p:pic>
        <p:nvPicPr>
          <p:cNvPr id="2" name="Obraz 1" descr="Zasób 6.png">
            <a:extLst>
              <a:ext uri="{FF2B5EF4-FFF2-40B4-BE49-F238E27FC236}">
                <a16:creationId xmlns:a16="http://schemas.microsoft.com/office/drawing/2014/main" id="{F75F5827-BDD5-A353-52A1-ED77343900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57913" y="3498112"/>
            <a:ext cx="3638170" cy="248730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2" name="pole tekstowe 11">
            <a:extLst>
              <a:ext uri="{FF2B5EF4-FFF2-40B4-BE49-F238E27FC236}">
                <a16:creationId xmlns:a16="http://schemas.microsoft.com/office/drawing/2014/main" id="{27E80F16-F6A3-F44E-3E88-83B5E343F4B9}"/>
              </a:ext>
            </a:extLst>
          </p:cNvPr>
          <p:cNvSpPr txBox="1"/>
          <p:nvPr/>
        </p:nvSpPr>
        <p:spPr>
          <a:xfrm>
            <a:off x="7844992" y="3803760"/>
            <a:ext cx="3064013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waga! Jeżeli projekt składa się z kilku różnych etapów, to dla każdego z nich należy opracować osobną prezentację dla gości.</a:t>
            </a:r>
            <a:endParaRPr lang="pl-PL" sz="16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36562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ole tekstowe 39"/>
          <p:cNvSpPr txBox="1"/>
          <p:nvPr/>
        </p:nvSpPr>
        <p:spPr>
          <a:xfrm>
            <a:off x="251750" y="1667254"/>
            <a:ext cx="6830786" cy="28110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lvl="0" indent="-228594" defTabSz="914377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pl-PL" sz="2000" dirty="0">
                <a:latin typeface="Arial" panose="020B0604020202020204" pitchFamily="34" charset="0"/>
                <a:cs typeface="Arial" panose="020B0604020202020204" pitchFamily="34" charset="0"/>
              </a:rPr>
              <a:t>Wszystkie wypadki, incydenty, niebezpieczne zdarzenia, zdarzenia potencjalnie wypadkowe należy zgłaszać niezwłocznie do bezpośredniego nadzoru oraz </a:t>
            </a:r>
            <a:r>
              <a:rPr lang="pl-PL" sz="2000" dirty="0" err="1">
                <a:latin typeface="Arial" panose="020B0604020202020204" pitchFamily="34" charset="0"/>
                <a:cs typeface="Arial" panose="020B0604020202020204" pitchFamily="34" charset="0"/>
              </a:rPr>
              <a:t>Archicom</a:t>
            </a:r>
            <a:r>
              <a:rPr lang="pl-PL" sz="2000" dirty="0">
                <a:latin typeface="Arial" panose="020B0604020202020204" pitchFamily="34" charset="0"/>
                <a:cs typeface="Arial" panose="020B0604020202020204" pitchFamily="34" charset="0"/>
              </a:rPr>
              <a:t>/Generalnego Wykonawcy</a:t>
            </a:r>
          </a:p>
          <a:p>
            <a:pPr marL="228594" lvl="0" indent="-228594" defTabSz="914377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pl-PL" sz="2000" dirty="0">
                <a:latin typeface="Arial" panose="020B0604020202020204" pitchFamily="34" charset="0"/>
                <a:cs typeface="Arial" panose="020B0604020202020204" pitchFamily="34" charset="0"/>
              </a:rPr>
              <a:t>Zapewnij w swojej ekipie roboczej apteczkę pierwszej pomocy</a:t>
            </a:r>
          </a:p>
          <a:p>
            <a:pPr marL="228594" lvl="0" indent="-228594" defTabSz="914377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pl-PL" sz="2000" dirty="0">
                <a:latin typeface="Arial" panose="020B0604020202020204" pitchFamily="34" charset="0"/>
                <a:cs typeface="Arial" panose="020B0604020202020204" pitchFamily="34" charset="0"/>
              </a:rPr>
              <a:t>Przeszkol/wyznacz osoby do udzielania pierwszej pomocy</a:t>
            </a:r>
          </a:p>
        </p:txBody>
      </p:sp>
      <p:pic>
        <p:nvPicPr>
          <p:cNvPr id="41" name="Picture 6" descr="http://camps-odszkodowania.co.uk/wp-content/uploads/2014/05/wypadek-w-pracy-na-budowie.jpg">
            <a:extLst>
              <a:ext uri="{FF2B5EF4-FFF2-40B4-BE49-F238E27FC236}">
                <a16:creationId xmlns:a16="http://schemas.microsoft.com/office/drawing/2014/main" id="{E0599C26-2C33-4527-A119-A4A8CB9B75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24117" y="302358"/>
            <a:ext cx="3016133" cy="2010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2" descr="Znalezione obrazy dla zapytania pierwsza pomoc krzyż">
            <a:hlinkClick r:id="rId4"/>
            <a:extLst>
              <a:ext uri="{FF2B5EF4-FFF2-40B4-BE49-F238E27FC236}">
                <a16:creationId xmlns:a16="http://schemas.microsoft.com/office/drawing/2014/main" id="{E6B643A6-865B-4CD8-9297-BDB99F970A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87114" y="2429385"/>
            <a:ext cx="1766686" cy="1766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Obraz 42" descr="Obraz zawierający apteczka, pojemnik, obiekt, czerwony&#10;&#10;Opis wygenerowany automatycznie">
            <a:extLst>
              <a:ext uri="{FF2B5EF4-FFF2-40B4-BE49-F238E27FC236}">
                <a16:creationId xmlns:a16="http://schemas.microsoft.com/office/drawing/2014/main" id="{8A1D35D7-C089-4020-9867-D1F1F31D6F3D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97583" y="4312343"/>
            <a:ext cx="2277672" cy="2010757"/>
          </a:xfrm>
          <a:prstGeom prst="rect">
            <a:avLst/>
          </a:prstGeom>
        </p:spPr>
      </p:pic>
      <p:sp>
        <p:nvSpPr>
          <p:cNvPr id="4" name="Tytuł 35">
            <a:extLst>
              <a:ext uri="{FF2B5EF4-FFF2-40B4-BE49-F238E27FC236}">
                <a16:creationId xmlns:a16="http://schemas.microsoft.com/office/drawing/2014/main" id="{945B9319-1F6C-BE13-2C96-59A90AD919A9}"/>
              </a:ext>
            </a:extLst>
          </p:cNvPr>
          <p:cNvSpPr txBox="1">
            <a:spLocks/>
          </p:cNvSpPr>
          <p:nvPr/>
        </p:nvSpPr>
        <p:spPr>
          <a:xfrm>
            <a:off x="2083980" y="37943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b="1" dirty="0">
                <a:latin typeface="Arial Nova Cond" panose="020B0506020202020204" pitchFamily="34" charset="0"/>
              </a:rPr>
              <a:t>Reagowanie na wypadki</a:t>
            </a:r>
          </a:p>
        </p:txBody>
      </p:sp>
    </p:spTree>
    <p:extLst>
      <p:ext uri="{BB962C8B-B14F-4D97-AF65-F5344CB8AC3E}">
        <p14:creationId xmlns:p14="http://schemas.microsoft.com/office/powerpoint/2010/main" val="33817009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ole tekstowe 37"/>
          <p:cNvSpPr txBox="1"/>
          <p:nvPr/>
        </p:nvSpPr>
        <p:spPr>
          <a:xfrm>
            <a:off x="266700" y="1496026"/>
            <a:ext cx="116395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000" dirty="0">
                <a:latin typeface="Arial" pitchFamily="34" charset="0"/>
                <a:cs typeface="Arial" pitchFamily="34" charset="0"/>
              </a:rPr>
              <a:t>Projekt posiada politykę zarządzania odpadami w celu zminimalizowania ilości odpadów trafiających na wysypiska śmieci. Używaj odpowiednich koszy/kontenerów na śmieci. </a:t>
            </a:r>
          </a:p>
        </p:txBody>
      </p:sp>
      <p:sp>
        <p:nvSpPr>
          <p:cNvPr id="41" name="Tytuł 36"/>
          <p:cNvSpPr txBox="1">
            <a:spLocks/>
          </p:cNvSpPr>
          <p:nvPr/>
        </p:nvSpPr>
        <p:spPr>
          <a:xfrm>
            <a:off x="266701" y="5550486"/>
            <a:ext cx="1165859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pl-PL" altLang="en-US" sz="2200" dirty="0">
                <a:solidFill>
                  <a:srgbClr val="E71515"/>
                </a:solidFill>
                <a:latin typeface="Arial" pitchFamily="34" charset="0"/>
                <a:cs typeface="Arial" pitchFamily="34" charset="0"/>
              </a:rPr>
              <a:t>ZAKAZ NIEAUTORYZOWANEGO USUWANIA ODPADÓW</a:t>
            </a:r>
            <a:endParaRPr lang="en-GB" altLang="en-US" sz="2200" dirty="0">
              <a:solidFill>
                <a:srgbClr val="E71515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Obraz 5" descr="kontenery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4600" y="2582054"/>
            <a:ext cx="6905625" cy="2610307"/>
          </a:xfrm>
          <a:prstGeom prst="rect">
            <a:avLst/>
          </a:prstGeom>
        </p:spPr>
      </p:pic>
      <p:sp>
        <p:nvSpPr>
          <p:cNvPr id="4" name="Tytuł 35">
            <a:extLst>
              <a:ext uri="{FF2B5EF4-FFF2-40B4-BE49-F238E27FC236}">
                <a16:creationId xmlns:a16="http://schemas.microsoft.com/office/drawing/2014/main" id="{6B7977C5-E8A2-DB3D-A31F-BD25C9C2A43B}"/>
              </a:ext>
            </a:extLst>
          </p:cNvPr>
          <p:cNvSpPr txBox="1">
            <a:spLocks/>
          </p:cNvSpPr>
          <p:nvPr/>
        </p:nvSpPr>
        <p:spPr>
          <a:xfrm>
            <a:off x="2083980" y="37943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b="1" dirty="0">
                <a:latin typeface="Arial Nova Cond" panose="020B0506020202020204" pitchFamily="34" charset="0"/>
              </a:rPr>
              <a:t>Zarządzanie odpadami</a:t>
            </a:r>
          </a:p>
        </p:txBody>
      </p:sp>
    </p:spTree>
    <p:extLst>
      <p:ext uri="{BB962C8B-B14F-4D97-AF65-F5344CB8AC3E}">
        <p14:creationId xmlns:p14="http://schemas.microsoft.com/office/powerpoint/2010/main" val="19654770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upa 47"/>
          <p:cNvGrpSpPr/>
          <p:nvPr/>
        </p:nvGrpSpPr>
        <p:grpSpPr>
          <a:xfrm>
            <a:off x="620606" y="1942455"/>
            <a:ext cx="10950789" cy="2914444"/>
            <a:chOff x="334391" y="1942455"/>
            <a:chExt cx="10950789" cy="2914444"/>
          </a:xfrm>
        </p:grpSpPr>
        <p:pic>
          <p:nvPicPr>
            <p:cNvPr id="49" name="Obraz 38">
              <a:extLst>
                <a:ext uri="{FF2B5EF4-FFF2-40B4-BE49-F238E27FC236}">
                  <a16:creationId xmlns:a16="http://schemas.microsoft.com/office/drawing/2014/main" id="{4BDA71A4-010F-4C36-864E-BCCC5708799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62651" y="3695335"/>
              <a:ext cx="1382126" cy="11525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" name="Obraz 35">
              <a:extLst>
                <a:ext uri="{FF2B5EF4-FFF2-40B4-BE49-F238E27FC236}">
                  <a16:creationId xmlns:a16="http://schemas.microsoft.com/office/drawing/2014/main" id="{4A1E9392-572E-4298-9D33-4DAB55D33BC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26856" y="3560191"/>
              <a:ext cx="1343815" cy="12967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" name="Obraz 45">
              <a:extLst>
                <a:ext uri="{FF2B5EF4-FFF2-40B4-BE49-F238E27FC236}">
                  <a16:creationId xmlns:a16="http://schemas.microsoft.com/office/drawing/2014/main" id="{3E7BABC1-29BC-441B-9D97-B70E0BED269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52859" y="3649214"/>
              <a:ext cx="1274826" cy="11618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2" name="Obraz 39">
              <a:extLst>
                <a:ext uri="{FF2B5EF4-FFF2-40B4-BE49-F238E27FC236}">
                  <a16:creationId xmlns:a16="http://schemas.microsoft.com/office/drawing/2014/main" id="{CDD5102C-23CA-44D6-8CD0-37280C62140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67290" y="1968226"/>
              <a:ext cx="1417890" cy="12638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3" name="Obraz 44">
              <a:extLst>
                <a:ext uri="{FF2B5EF4-FFF2-40B4-BE49-F238E27FC236}">
                  <a16:creationId xmlns:a16="http://schemas.microsoft.com/office/drawing/2014/main" id="{37B0380C-708C-43C3-AB31-10A4FDED2D6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391" y="2071433"/>
              <a:ext cx="1450179" cy="11606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4" name="Obraz 41">
              <a:extLst>
                <a:ext uri="{FF2B5EF4-FFF2-40B4-BE49-F238E27FC236}">
                  <a16:creationId xmlns:a16="http://schemas.microsoft.com/office/drawing/2014/main" id="{901140AD-99ED-4CD3-894C-3D703901396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05477" y="2072162"/>
              <a:ext cx="1334299" cy="11242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" name="Obraz 40">
              <a:extLst>
                <a:ext uri="{FF2B5EF4-FFF2-40B4-BE49-F238E27FC236}">
                  <a16:creationId xmlns:a16="http://schemas.microsoft.com/office/drawing/2014/main" id="{79F9B877-58BA-482B-8330-0E1B66653D0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60683" y="2023807"/>
              <a:ext cx="1340454" cy="12493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6" name="Obraz 55">
              <a:extLst>
                <a:ext uri="{FF2B5EF4-FFF2-40B4-BE49-F238E27FC236}">
                  <a16:creationId xmlns:a16="http://schemas.microsoft.com/office/drawing/2014/main" id="{1E6AB591-9801-41B8-BA3A-BEB4A3B377A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16206" y="3695608"/>
              <a:ext cx="1189498" cy="1113458"/>
            </a:xfrm>
            <a:prstGeom prst="rect">
              <a:avLst/>
            </a:prstGeom>
          </p:spPr>
        </p:pic>
        <p:pic>
          <p:nvPicPr>
            <p:cNvPr id="57" name="Obraz 9">
              <a:extLst>
                <a:ext uri="{FF2B5EF4-FFF2-40B4-BE49-F238E27FC236}">
                  <a16:creationId xmlns:a16="http://schemas.microsoft.com/office/drawing/2014/main" id="{A4306117-0A93-4AAB-AA9D-1E5CF080BF4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22044" y="2050492"/>
              <a:ext cx="1398397" cy="11756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8" name="Obraz 47">
              <a:extLst>
                <a:ext uri="{FF2B5EF4-FFF2-40B4-BE49-F238E27FC236}">
                  <a16:creationId xmlns:a16="http://schemas.microsoft.com/office/drawing/2014/main" id="{9D4C4A6E-7E4D-4C97-935E-E83D1838E1F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14956" y="1942455"/>
              <a:ext cx="1336241" cy="13542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9" name="Obraz 43">
              <a:extLst>
                <a:ext uri="{FF2B5EF4-FFF2-40B4-BE49-F238E27FC236}">
                  <a16:creationId xmlns:a16="http://schemas.microsoft.com/office/drawing/2014/main" id="{8AAC37E1-40CB-4B22-812F-336941D7E853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33298" y="3602123"/>
              <a:ext cx="1361643" cy="12109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" name="Tytuł 35">
            <a:extLst>
              <a:ext uri="{FF2B5EF4-FFF2-40B4-BE49-F238E27FC236}">
                <a16:creationId xmlns:a16="http://schemas.microsoft.com/office/drawing/2014/main" id="{92F5A1D9-5CCB-F6B2-FA53-599C62CD8605}"/>
              </a:ext>
            </a:extLst>
          </p:cNvPr>
          <p:cNvSpPr txBox="1">
            <a:spLocks/>
          </p:cNvSpPr>
          <p:nvPr/>
        </p:nvSpPr>
        <p:spPr>
          <a:xfrm>
            <a:off x="2083980" y="37943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b="1" dirty="0">
                <a:latin typeface="Arial Nova Cond" panose="020B0506020202020204" pitchFamily="34" charset="0"/>
              </a:rPr>
              <a:t>Aktualne zagrożenia na budowie</a:t>
            </a:r>
          </a:p>
        </p:txBody>
      </p:sp>
    </p:spTree>
    <p:extLst>
      <p:ext uri="{BB962C8B-B14F-4D97-AF65-F5344CB8AC3E}">
        <p14:creationId xmlns:p14="http://schemas.microsoft.com/office/powerpoint/2010/main" val="20452997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2056809" y="154134"/>
            <a:ext cx="11863486" cy="1052040"/>
          </a:xfrm>
        </p:spPr>
        <p:txBody>
          <a:bodyPr>
            <a:noAutofit/>
          </a:bodyPr>
          <a:lstStyle/>
          <a:p>
            <a:r>
              <a:rPr lang="pl-PL" altLang="en-US" sz="2400" b="1" dirty="0">
                <a:latin typeface="Arial Nova Cond" panose="020B0506020202020204" pitchFamily="34" charset="0"/>
              </a:rPr>
              <a:t>ZROZUMIENIE HIERARCHII DOBORU ŚRODKÓW OCHRONY</a:t>
            </a:r>
            <a:r>
              <a:rPr lang="en-US" altLang="en-US" sz="2400" b="1" dirty="0">
                <a:latin typeface="Arial Nova Cond" panose="020B0506020202020204" pitchFamily="34" charset="0"/>
              </a:rPr>
              <a:t> </a:t>
            </a:r>
            <a:br>
              <a:rPr lang="pl-PL" altLang="en-US" sz="2400" b="1" dirty="0">
                <a:latin typeface="Arial Nova Cond" panose="020B0506020202020204" pitchFamily="34" charset="0"/>
              </a:rPr>
            </a:br>
            <a:r>
              <a:rPr lang="pl-PL" altLang="en-US" sz="2400" b="1" dirty="0">
                <a:latin typeface="Arial Nova Cond" panose="020B0506020202020204" pitchFamily="34" charset="0"/>
              </a:rPr>
              <a:t>(WŁAŚCIWA OCENA RYZYKA I PLANOWANIE) </a:t>
            </a:r>
            <a:br>
              <a:rPr lang="pl-PL" altLang="en-US" sz="2400" b="1" dirty="0">
                <a:latin typeface="Arial Nova Cond" panose="020B0506020202020204" pitchFamily="34" charset="0"/>
              </a:rPr>
            </a:br>
            <a:r>
              <a:rPr lang="pl-PL" altLang="en-US" sz="1200" b="1" dirty="0">
                <a:solidFill>
                  <a:srgbClr val="00B050"/>
                </a:solidFill>
                <a:latin typeface="Arial Nova Cond" panose="020B0506020202020204" pitchFamily="34" charset="0"/>
              </a:rPr>
              <a:t>1 (pierwszy wybór)  </a:t>
            </a:r>
            <a:r>
              <a:rPr lang="pl-PL" altLang="en-US" sz="1200" b="1" dirty="0">
                <a:solidFill>
                  <a:srgbClr val="FF0000"/>
                </a:solidFill>
                <a:latin typeface="Arial Nova Cond" panose="020B0506020202020204" pitchFamily="34" charset="0"/>
              </a:rPr>
              <a:t>5 (ostateczność)</a:t>
            </a:r>
            <a:endParaRPr lang="pl-PL" sz="3200" b="1" dirty="0">
              <a:solidFill>
                <a:srgbClr val="FF0000"/>
              </a:solidFill>
              <a:latin typeface="Arial Nova Cond" panose="020B0506020202020204" pitchFamily="34" charset="0"/>
            </a:endParaRPr>
          </a:p>
        </p:txBody>
      </p:sp>
      <p:sp>
        <p:nvSpPr>
          <p:cNvPr id="5" name="Text Box 26">
            <a:extLst>
              <a:ext uri="{FF2B5EF4-FFF2-40B4-BE49-F238E27FC236}">
                <a16:creationId xmlns:a16="http://schemas.microsoft.com/office/drawing/2014/main" id="{BE929580-E78E-4251-9B10-EF58312041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7805" y="5754120"/>
            <a:ext cx="1154214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pl-PL" altLang="en-US" sz="1600" dirty="0">
                <a:ea typeface="+mj-ea"/>
                <a:cs typeface="Arial" pitchFamily="34" charset="0"/>
              </a:rPr>
              <a:t>Dobierając środki ochrony oprócz pracowników pamiętaj też o zagrożeniu związanym ze spadającym sprzętem i materiałami!</a:t>
            </a:r>
            <a:endParaRPr lang="en-GB" altLang="en-US" sz="1600" dirty="0">
              <a:solidFill>
                <a:schemeClr val="bg1"/>
              </a:solidFill>
              <a:cs typeface="Arial" pitchFamily="34" charset="0"/>
            </a:endParaRPr>
          </a:p>
        </p:txBody>
      </p:sp>
      <p:grpSp>
        <p:nvGrpSpPr>
          <p:cNvPr id="54" name="Grupa 53"/>
          <p:cNvGrpSpPr/>
          <p:nvPr/>
        </p:nvGrpSpPr>
        <p:grpSpPr>
          <a:xfrm>
            <a:off x="1446205" y="2493974"/>
            <a:ext cx="1682046" cy="1023866"/>
            <a:chOff x="1296651" y="2119324"/>
            <a:chExt cx="1921982" cy="1169916"/>
          </a:xfrm>
        </p:grpSpPr>
        <p:cxnSp>
          <p:nvCxnSpPr>
            <p:cNvPr id="32" name="Łącznik prosty 31"/>
            <p:cNvCxnSpPr/>
            <p:nvPr/>
          </p:nvCxnSpPr>
          <p:spPr>
            <a:xfrm flipV="1">
              <a:off x="2887167" y="2729620"/>
              <a:ext cx="331466" cy="2159"/>
            </a:xfrm>
            <a:prstGeom prst="line">
              <a:avLst/>
            </a:prstGeom>
            <a:ln w="57150">
              <a:solidFill>
                <a:srgbClr val="535459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3" name="Grupa 52"/>
            <p:cNvGrpSpPr/>
            <p:nvPr/>
          </p:nvGrpSpPr>
          <p:grpSpPr>
            <a:xfrm>
              <a:off x="1296651" y="2119324"/>
              <a:ext cx="1616519" cy="1169916"/>
              <a:chOff x="1296651" y="2119324"/>
              <a:chExt cx="1616519" cy="1169916"/>
            </a:xfrm>
          </p:grpSpPr>
          <p:grpSp>
            <p:nvGrpSpPr>
              <p:cNvPr id="48" name="Grupa 47"/>
              <p:cNvGrpSpPr/>
              <p:nvPr/>
            </p:nvGrpSpPr>
            <p:grpSpPr>
              <a:xfrm>
                <a:off x="1740266" y="2119324"/>
                <a:ext cx="1172904" cy="1169916"/>
                <a:chOff x="1740266" y="2119324"/>
                <a:chExt cx="1172904" cy="1169916"/>
              </a:xfrm>
            </p:grpSpPr>
            <p:sp>
              <p:nvSpPr>
                <p:cNvPr id="20" name="Dowolny kształt 19"/>
                <p:cNvSpPr/>
                <p:nvPr/>
              </p:nvSpPr>
              <p:spPr>
                <a:xfrm>
                  <a:off x="1740266" y="2119324"/>
                  <a:ext cx="1001135" cy="586451"/>
                </a:xfrm>
                <a:custGeom>
                  <a:avLst/>
                  <a:gdLst>
                    <a:gd name="connsiteX0" fmla="*/ 0 w 1103360"/>
                    <a:gd name="connsiteY0" fmla="*/ 551680 h 1103360"/>
                    <a:gd name="connsiteX1" fmla="*/ 161584 w 1103360"/>
                    <a:gd name="connsiteY1" fmla="*/ 161583 h 1103360"/>
                    <a:gd name="connsiteX2" fmla="*/ 551681 w 1103360"/>
                    <a:gd name="connsiteY2" fmla="*/ 0 h 1103360"/>
                    <a:gd name="connsiteX3" fmla="*/ 941778 w 1103360"/>
                    <a:gd name="connsiteY3" fmla="*/ 161584 h 1103360"/>
                    <a:gd name="connsiteX4" fmla="*/ 1103361 w 1103360"/>
                    <a:gd name="connsiteY4" fmla="*/ 551681 h 1103360"/>
                    <a:gd name="connsiteX5" fmla="*/ 941778 w 1103360"/>
                    <a:gd name="connsiteY5" fmla="*/ 941778 h 1103360"/>
                    <a:gd name="connsiteX6" fmla="*/ 551681 w 1103360"/>
                    <a:gd name="connsiteY6" fmla="*/ 1103361 h 1103360"/>
                    <a:gd name="connsiteX7" fmla="*/ 161584 w 1103360"/>
                    <a:gd name="connsiteY7" fmla="*/ 941777 h 1103360"/>
                    <a:gd name="connsiteX8" fmla="*/ 1 w 1103360"/>
                    <a:gd name="connsiteY8" fmla="*/ 551680 h 1103360"/>
                    <a:gd name="connsiteX9" fmla="*/ 0 w 1103360"/>
                    <a:gd name="connsiteY9" fmla="*/ 551680 h 1103360"/>
                    <a:gd name="connsiteX0" fmla="*/ 0 w 1103361"/>
                    <a:gd name="connsiteY0" fmla="*/ 551680 h 1168377"/>
                    <a:gd name="connsiteX1" fmla="*/ 161584 w 1103361"/>
                    <a:gd name="connsiteY1" fmla="*/ 161583 h 1168377"/>
                    <a:gd name="connsiteX2" fmla="*/ 551681 w 1103361"/>
                    <a:gd name="connsiteY2" fmla="*/ 0 h 1168377"/>
                    <a:gd name="connsiteX3" fmla="*/ 941778 w 1103361"/>
                    <a:gd name="connsiteY3" fmla="*/ 161584 h 1168377"/>
                    <a:gd name="connsiteX4" fmla="*/ 1103361 w 1103361"/>
                    <a:gd name="connsiteY4" fmla="*/ 551681 h 1168377"/>
                    <a:gd name="connsiteX5" fmla="*/ 941778 w 1103361"/>
                    <a:gd name="connsiteY5" fmla="*/ 941778 h 1168377"/>
                    <a:gd name="connsiteX6" fmla="*/ 551681 w 1103361"/>
                    <a:gd name="connsiteY6" fmla="*/ 1103361 h 1168377"/>
                    <a:gd name="connsiteX7" fmla="*/ 1 w 1103361"/>
                    <a:gd name="connsiteY7" fmla="*/ 551680 h 1168377"/>
                    <a:gd name="connsiteX8" fmla="*/ 0 w 1103361"/>
                    <a:gd name="connsiteY8" fmla="*/ 551680 h 1168377"/>
                    <a:gd name="connsiteX0" fmla="*/ 1 w 1103361"/>
                    <a:gd name="connsiteY0" fmla="*/ 551680 h 1194801"/>
                    <a:gd name="connsiteX1" fmla="*/ 0 w 1103361"/>
                    <a:gd name="connsiteY1" fmla="*/ 551680 h 1194801"/>
                    <a:gd name="connsiteX2" fmla="*/ 161584 w 1103361"/>
                    <a:gd name="connsiteY2" fmla="*/ 161583 h 1194801"/>
                    <a:gd name="connsiteX3" fmla="*/ 551681 w 1103361"/>
                    <a:gd name="connsiteY3" fmla="*/ 0 h 1194801"/>
                    <a:gd name="connsiteX4" fmla="*/ 941778 w 1103361"/>
                    <a:gd name="connsiteY4" fmla="*/ 161584 h 1194801"/>
                    <a:gd name="connsiteX5" fmla="*/ 1103361 w 1103361"/>
                    <a:gd name="connsiteY5" fmla="*/ 551681 h 1194801"/>
                    <a:gd name="connsiteX6" fmla="*/ 941778 w 1103361"/>
                    <a:gd name="connsiteY6" fmla="*/ 941778 h 1194801"/>
                    <a:gd name="connsiteX7" fmla="*/ 643121 w 1103361"/>
                    <a:gd name="connsiteY7" fmla="*/ 1194801 h 1194801"/>
                    <a:gd name="connsiteX0" fmla="*/ 1 w 1103361"/>
                    <a:gd name="connsiteY0" fmla="*/ 551680 h 941778"/>
                    <a:gd name="connsiteX1" fmla="*/ 0 w 1103361"/>
                    <a:gd name="connsiteY1" fmla="*/ 551680 h 941778"/>
                    <a:gd name="connsiteX2" fmla="*/ 161584 w 1103361"/>
                    <a:gd name="connsiteY2" fmla="*/ 161583 h 941778"/>
                    <a:gd name="connsiteX3" fmla="*/ 551681 w 1103361"/>
                    <a:gd name="connsiteY3" fmla="*/ 0 h 941778"/>
                    <a:gd name="connsiteX4" fmla="*/ 941778 w 1103361"/>
                    <a:gd name="connsiteY4" fmla="*/ 161584 h 941778"/>
                    <a:gd name="connsiteX5" fmla="*/ 1103361 w 1103361"/>
                    <a:gd name="connsiteY5" fmla="*/ 551681 h 941778"/>
                    <a:gd name="connsiteX6" fmla="*/ 941778 w 1103361"/>
                    <a:gd name="connsiteY6" fmla="*/ 941778 h 941778"/>
                    <a:gd name="connsiteX0" fmla="*/ 1 w 1103361"/>
                    <a:gd name="connsiteY0" fmla="*/ 551680 h 551681"/>
                    <a:gd name="connsiteX1" fmla="*/ 0 w 1103361"/>
                    <a:gd name="connsiteY1" fmla="*/ 551680 h 551681"/>
                    <a:gd name="connsiteX2" fmla="*/ 161584 w 1103361"/>
                    <a:gd name="connsiteY2" fmla="*/ 161583 h 551681"/>
                    <a:gd name="connsiteX3" fmla="*/ 551681 w 1103361"/>
                    <a:gd name="connsiteY3" fmla="*/ 0 h 551681"/>
                    <a:gd name="connsiteX4" fmla="*/ 941778 w 1103361"/>
                    <a:gd name="connsiteY4" fmla="*/ 161584 h 551681"/>
                    <a:gd name="connsiteX5" fmla="*/ 1103361 w 1103361"/>
                    <a:gd name="connsiteY5" fmla="*/ 551681 h 551681"/>
                    <a:gd name="connsiteX0" fmla="*/ 1 w 941778"/>
                    <a:gd name="connsiteY0" fmla="*/ 551680 h 551680"/>
                    <a:gd name="connsiteX1" fmla="*/ 0 w 941778"/>
                    <a:gd name="connsiteY1" fmla="*/ 551680 h 551680"/>
                    <a:gd name="connsiteX2" fmla="*/ 161584 w 941778"/>
                    <a:gd name="connsiteY2" fmla="*/ 161583 h 551680"/>
                    <a:gd name="connsiteX3" fmla="*/ 551681 w 941778"/>
                    <a:gd name="connsiteY3" fmla="*/ 0 h 551680"/>
                    <a:gd name="connsiteX4" fmla="*/ 941778 w 941778"/>
                    <a:gd name="connsiteY4" fmla="*/ 161584 h 551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1778" h="551680">
                      <a:moveTo>
                        <a:pt x="1" y="551680"/>
                      </a:moveTo>
                      <a:lnTo>
                        <a:pt x="0" y="551680"/>
                      </a:lnTo>
                      <a:cubicBezTo>
                        <a:pt x="0" y="405365"/>
                        <a:pt x="58124" y="265043"/>
                        <a:pt x="161584" y="161583"/>
                      </a:cubicBezTo>
                      <a:cubicBezTo>
                        <a:pt x="265044" y="58123"/>
                        <a:pt x="405366" y="0"/>
                        <a:pt x="551681" y="0"/>
                      </a:cubicBezTo>
                      <a:cubicBezTo>
                        <a:pt x="697996" y="0"/>
                        <a:pt x="838318" y="58124"/>
                        <a:pt x="941778" y="161584"/>
                      </a:cubicBezTo>
                    </a:path>
                  </a:pathLst>
                </a:custGeom>
                <a:noFill/>
                <a:ln w="57150">
                  <a:solidFill>
                    <a:srgbClr val="535459"/>
                  </a:solidFill>
                </a:ln>
                <a:effectLst/>
              </p:spPr>
              <p:style>
                <a:lnRef idx="0">
                  <a:schemeClr val="accent3"/>
                </a:lnRef>
                <a:fillRef idx="1001">
                  <a:schemeClr val="lt1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l-PL" sz="3200" b="1" dirty="0">
                    <a:ln w="10160">
                      <a:noFill/>
                      <a:prstDash val="solid"/>
                    </a:ln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5" name="Dowolny kształt 24"/>
                <p:cNvSpPr/>
                <p:nvPr/>
              </p:nvSpPr>
              <p:spPr>
                <a:xfrm rot="10800000">
                  <a:off x="1912035" y="2702789"/>
                  <a:ext cx="1001135" cy="586451"/>
                </a:xfrm>
                <a:custGeom>
                  <a:avLst/>
                  <a:gdLst>
                    <a:gd name="connsiteX0" fmla="*/ 0 w 1103360"/>
                    <a:gd name="connsiteY0" fmla="*/ 551680 h 1103360"/>
                    <a:gd name="connsiteX1" fmla="*/ 161584 w 1103360"/>
                    <a:gd name="connsiteY1" fmla="*/ 161583 h 1103360"/>
                    <a:gd name="connsiteX2" fmla="*/ 551681 w 1103360"/>
                    <a:gd name="connsiteY2" fmla="*/ 0 h 1103360"/>
                    <a:gd name="connsiteX3" fmla="*/ 941778 w 1103360"/>
                    <a:gd name="connsiteY3" fmla="*/ 161584 h 1103360"/>
                    <a:gd name="connsiteX4" fmla="*/ 1103361 w 1103360"/>
                    <a:gd name="connsiteY4" fmla="*/ 551681 h 1103360"/>
                    <a:gd name="connsiteX5" fmla="*/ 941778 w 1103360"/>
                    <a:gd name="connsiteY5" fmla="*/ 941778 h 1103360"/>
                    <a:gd name="connsiteX6" fmla="*/ 551681 w 1103360"/>
                    <a:gd name="connsiteY6" fmla="*/ 1103361 h 1103360"/>
                    <a:gd name="connsiteX7" fmla="*/ 161584 w 1103360"/>
                    <a:gd name="connsiteY7" fmla="*/ 941777 h 1103360"/>
                    <a:gd name="connsiteX8" fmla="*/ 1 w 1103360"/>
                    <a:gd name="connsiteY8" fmla="*/ 551680 h 1103360"/>
                    <a:gd name="connsiteX9" fmla="*/ 0 w 1103360"/>
                    <a:gd name="connsiteY9" fmla="*/ 551680 h 1103360"/>
                    <a:gd name="connsiteX0" fmla="*/ 0 w 1103361"/>
                    <a:gd name="connsiteY0" fmla="*/ 551680 h 1168377"/>
                    <a:gd name="connsiteX1" fmla="*/ 161584 w 1103361"/>
                    <a:gd name="connsiteY1" fmla="*/ 161583 h 1168377"/>
                    <a:gd name="connsiteX2" fmla="*/ 551681 w 1103361"/>
                    <a:gd name="connsiteY2" fmla="*/ 0 h 1168377"/>
                    <a:gd name="connsiteX3" fmla="*/ 941778 w 1103361"/>
                    <a:gd name="connsiteY3" fmla="*/ 161584 h 1168377"/>
                    <a:gd name="connsiteX4" fmla="*/ 1103361 w 1103361"/>
                    <a:gd name="connsiteY4" fmla="*/ 551681 h 1168377"/>
                    <a:gd name="connsiteX5" fmla="*/ 941778 w 1103361"/>
                    <a:gd name="connsiteY5" fmla="*/ 941778 h 1168377"/>
                    <a:gd name="connsiteX6" fmla="*/ 551681 w 1103361"/>
                    <a:gd name="connsiteY6" fmla="*/ 1103361 h 1168377"/>
                    <a:gd name="connsiteX7" fmla="*/ 1 w 1103361"/>
                    <a:gd name="connsiteY7" fmla="*/ 551680 h 1168377"/>
                    <a:gd name="connsiteX8" fmla="*/ 0 w 1103361"/>
                    <a:gd name="connsiteY8" fmla="*/ 551680 h 1168377"/>
                    <a:gd name="connsiteX0" fmla="*/ 1 w 1103361"/>
                    <a:gd name="connsiteY0" fmla="*/ 551680 h 1194801"/>
                    <a:gd name="connsiteX1" fmla="*/ 0 w 1103361"/>
                    <a:gd name="connsiteY1" fmla="*/ 551680 h 1194801"/>
                    <a:gd name="connsiteX2" fmla="*/ 161584 w 1103361"/>
                    <a:gd name="connsiteY2" fmla="*/ 161583 h 1194801"/>
                    <a:gd name="connsiteX3" fmla="*/ 551681 w 1103361"/>
                    <a:gd name="connsiteY3" fmla="*/ 0 h 1194801"/>
                    <a:gd name="connsiteX4" fmla="*/ 941778 w 1103361"/>
                    <a:gd name="connsiteY4" fmla="*/ 161584 h 1194801"/>
                    <a:gd name="connsiteX5" fmla="*/ 1103361 w 1103361"/>
                    <a:gd name="connsiteY5" fmla="*/ 551681 h 1194801"/>
                    <a:gd name="connsiteX6" fmla="*/ 941778 w 1103361"/>
                    <a:gd name="connsiteY6" fmla="*/ 941778 h 1194801"/>
                    <a:gd name="connsiteX7" fmla="*/ 643121 w 1103361"/>
                    <a:gd name="connsiteY7" fmla="*/ 1194801 h 1194801"/>
                    <a:gd name="connsiteX0" fmla="*/ 1 w 1103361"/>
                    <a:gd name="connsiteY0" fmla="*/ 551680 h 941778"/>
                    <a:gd name="connsiteX1" fmla="*/ 0 w 1103361"/>
                    <a:gd name="connsiteY1" fmla="*/ 551680 h 941778"/>
                    <a:gd name="connsiteX2" fmla="*/ 161584 w 1103361"/>
                    <a:gd name="connsiteY2" fmla="*/ 161583 h 941778"/>
                    <a:gd name="connsiteX3" fmla="*/ 551681 w 1103361"/>
                    <a:gd name="connsiteY3" fmla="*/ 0 h 941778"/>
                    <a:gd name="connsiteX4" fmla="*/ 941778 w 1103361"/>
                    <a:gd name="connsiteY4" fmla="*/ 161584 h 941778"/>
                    <a:gd name="connsiteX5" fmla="*/ 1103361 w 1103361"/>
                    <a:gd name="connsiteY5" fmla="*/ 551681 h 941778"/>
                    <a:gd name="connsiteX6" fmla="*/ 941778 w 1103361"/>
                    <a:gd name="connsiteY6" fmla="*/ 941778 h 941778"/>
                    <a:gd name="connsiteX0" fmla="*/ 1 w 1103361"/>
                    <a:gd name="connsiteY0" fmla="*/ 551680 h 551681"/>
                    <a:gd name="connsiteX1" fmla="*/ 0 w 1103361"/>
                    <a:gd name="connsiteY1" fmla="*/ 551680 h 551681"/>
                    <a:gd name="connsiteX2" fmla="*/ 161584 w 1103361"/>
                    <a:gd name="connsiteY2" fmla="*/ 161583 h 551681"/>
                    <a:gd name="connsiteX3" fmla="*/ 551681 w 1103361"/>
                    <a:gd name="connsiteY3" fmla="*/ 0 h 551681"/>
                    <a:gd name="connsiteX4" fmla="*/ 941778 w 1103361"/>
                    <a:gd name="connsiteY4" fmla="*/ 161584 h 551681"/>
                    <a:gd name="connsiteX5" fmla="*/ 1103361 w 1103361"/>
                    <a:gd name="connsiteY5" fmla="*/ 551681 h 551681"/>
                    <a:gd name="connsiteX0" fmla="*/ 1 w 941778"/>
                    <a:gd name="connsiteY0" fmla="*/ 551680 h 551680"/>
                    <a:gd name="connsiteX1" fmla="*/ 0 w 941778"/>
                    <a:gd name="connsiteY1" fmla="*/ 551680 h 551680"/>
                    <a:gd name="connsiteX2" fmla="*/ 161584 w 941778"/>
                    <a:gd name="connsiteY2" fmla="*/ 161583 h 551680"/>
                    <a:gd name="connsiteX3" fmla="*/ 551681 w 941778"/>
                    <a:gd name="connsiteY3" fmla="*/ 0 h 551680"/>
                    <a:gd name="connsiteX4" fmla="*/ 941778 w 941778"/>
                    <a:gd name="connsiteY4" fmla="*/ 161584 h 551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1778" h="551680">
                      <a:moveTo>
                        <a:pt x="1" y="551680"/>
                      </a:moveTo>
                      <a:lnTo>
                        <a:pt x="0" y="551680"/>
                      </a:lnTo>
                      <a:cubicBezTo>
                        <a:pt x="0" y="405365"/>
                        <a:pt x="58124" y="265043"/>
                        <a:pt x="161584" y="161583"/>
                      </a:cubicBezTo>
                      <a:cubicBezTo>
                        <a:pt x="265044" y="58123"/>
                        <a:pt x="405366" y="0"/>
                        <a:pt x="551681" y="0"/>
                      </a:cubicBezTo>
                      <a:cubicBezTo>
                        <a:pt x="697996" y="0"/>
                        <a:pt x="838318" y="58124"/>
                        <a:pt x="941778" y="161584"/>
                      </a:cubicBezTo>
                    </a:path>
                  </a:pathLst>
                </a:custGeom>
                <a:noFill/>
                <a:ln w="57150">
                  <a:solidFill>
                    <a:srgbClr val="535459"/>
                  </a:solidFill>
                </a:ln>
                <a:effectLst/>
              </p:spPr>
              <p:style>
                <a:lnRef idx="0">
                  <a:schemeClr val="accent3"/>
                </a:lnRef>
                <a:fillRef idx="1001">
                  <a:schemeClr val="lt1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l-PL" sz="3200" b="1" dirty="0">
                    <a:ln w="10160">
                      <a:noFill/>
                      <a:prstDash val="solid"/>
                    </a:ln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6" name="Elipsa 5"/>
                <p:cNvSpPr/>
                <p:nvPr/>
              </p:nvSpPr>
              <p:spPr>
                <a:xfrm>
                  <a:off x="1775779" y="2153341"/>
                  <a:ext cx="1103360" cy="1103360"/>
                </a:xfrm>
                <a:prstGeom prst="ellipse">
                  <a:avLst/>
                </a:prstGeom>
                <a:ln/>
              </p:spPr>
              <p:style>
                <a:lnRef idx="0">
                  <a:schemeClr val="accent3"/>
                </a:lnRef>
                <a:fillRef idx="1001">
                  <a:schemeClr val="lt1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l-PL" sz="3200" b="1" dirty="0">
                      <a:ln w="10160">
                        <a:noFill/>
                        <a:prstDash val="solid"/>
                      </a:ln>
                      <a:solidFill>
                        <a:srgbClr val="535459"/>
                      </a:solidFill>
                      <a:latin typeface="Arial" pitchFamily="34" charset="0"/>
                      <a:cs typeface="Arial" pitchFamily="34" charset="0"/>
                    </a:rPr>
                    <a:t>1</a:t>
                  </a:r>
                </a:p>
              </p:txBody>
            </p:sp>
          </p:grpSp>
          <p:cxnSp>
            <p:nvCxnSpPr>
              <p:cNvPr id="52" name="Łącznik prosty 51"/>
              <p:cNvCxnSpPr/>
              <p:nvPr/>
            </p:nvCxnSpPr>
            <p:spPr>
              <a:xfrm rot="10800000">
                <a:off x="1296651" y="2728604"/>
                <a:ext cx="475745" cy="2754"/>
              </a:xfrm>
              <a:prstGeom prst="line">
                <a:avLst/>
              </a:prstGeom>
              <a:ln w="57150">
                <a:solidFill>
                  <a:srgbClr val="535459"/>
                </a:solidFill>
                <a:prstDash val="solid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8" name="Grupa 57"/>
          <p:cNvGrpSpPr/>
          <p:nvPr/>
        </p:nvGrpSpPr>
        <p:grpSpPr>
          <a:xfrm>
            <a:off x="3346626" y="2493974"/>
            <a:ext cx="1588823" cy="1023866"/>
            <a:chOff x="3288256" y="2119324"/>
            <a:chExt cx="1815461" cy="1169916"/>
          </a:xfrm>
        </p:grpSpPr>
        <p:cxnSp>
          <p:nvCxnSpPr>
            <p:cNvPr id="43" name="Łącznik prosty 42"/>
            <p:cNvCxnSpPr/>
            <p:nvPr/>
          </p:nvCxnSpPr>
          <p:spPr>
            <a:xfrm>
              <a:off x="4749106" y="2729829"/>
              <a:ext cx="354611" cy="3323"/>
            </a:xfrm>
            <a:prstGeom prst="line">
              <a:avLst/>
            </a:prstGeom>
            <a:ln w="57150">
              <a:solidFill>
                <a:srgbClr val="A6A7A8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7" name="Grupa 56"/>
            <p:cNvGrpSpPr/>
            <p:nvPr/>
          </p:nvGrpSpPr>
          <p:grpSpPr>
            <a:xfrm>
              <a:off x="3288256" y="2119324"/>
              <a:ext cx="1484016" cy="1169916"/>
              <a:chOff x="3288256" y="2119324"/>
              <a:chExt cx="1484016" cy="1169916"/>
            </a:xfrm>
          </p:grpSpPr>
          <p:grpSp>
            <p:nvGrpSpPr>
              <p:cNvPr id="44" name="Grupa 43"/>
              <p:cNvGrpSpPr/>
              <p:nvPr/>
            </p:nvGrpSpPr>
            <p:grpSpPr>
              <a:xfrm>
                <a:off x="3599368" y="2119324"/>
                <a:ext cx="1172904" cy="1169916"/>
                <a:chOff x="3599368" y="2159049"/>
                <a:chExt cx="1172904" cy="1169916"/>
              </a:xfrm>
            </p:grpSpPr>
            <p:sp>
              <p:nvSpPr>
                <p:cNvPr id="8" name="Elipsa 7"/>
                <p:cNvSpPr/>
                <p:nvPr/>
              </p:nvSpPr>
              <p:spPr>
                <a:xfrm>
                  <a:off x="3641093" y="2191521"/>
                  <a:ext cx="1103360" cy="1103360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0">
                  <a:schemeClr val="accent3"/>
                </a:lnRef>
                <a:fillRef idx="1001">
                  <a:schemeClr val="lt1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l-PL" sz="3200" b="1" dirty="0">
                      <a:ln w="10160">
                        <a:noFill/>
                        <a:prstDash val="solid"/>
                      </a:ln>
                      <a:solidFill>
                        <a:srgbClr val="A6A7A8"/>
                      </a:solidFill>
                      <a:latin typeface="Arial" pitchFamily="34" charset="0"/>
                      <a:cs typeface="Arial" pitchFamily="34" charset="0"/>
                    </a:rPr>
                    <a:t>2</a:t>
                  </a:r>
                </a:p>
              </p:txBody>
            </p:sp>
            <p:sp>
              <p:nvSpPr>
                <p:cNvPr id="37" name="Dowolny kształt 36"/>
                <p:cNvSpPr/>
                <p:nvPr/>
              </p:nvSpPr>
              <p:spPr>
                <a:xfrm>
                  <a:off x="3599368" y="2159049"/>
                  <a:ext cx="1001135" cy="586451"/>
                </a:xfrm>
                <a:custGeom>
                  <a:avLst/>
                  <a:gdLst>
                    <a:gd name="connsiteX0" fmla="*/ 0 w 1103360"/>
                    <a:gd name="connsiteY0" fmla="*/ 551680 h 1103360"/>
                    <a:gd name="connsiteX1" fmla="*/ 161584 w 1103360"/>
                    <a:gd name="connsiteY1" fmla="*/ 161583 h 1103360"/>
                    <a:gd name="connsiteX2" fmla="*/ 551681 w 1103360"/>
                    <a:gd name="connsiteY2" fmla="*/ 0 h 1103360"/>
                    <a:gd name="connsiteX3" fmla="*/ 941778 w 1103360"/>
                    <a:gd name="connsiteY3" fmla="*/ 161584 h 1103360"/>
                    <a:gd name="connsiteX4" fmla="*/ 1103361 w 1103360"/>
                    <a:gd name="connsiteY4" fmla="*/ 551681 h 1103360"/>
                    <a:gd name="connsiteX5" fmla="*/ 941778 w 1103360"/>
                    <a:gd name="connsiteY5" fmla="*/ 941778 h 1103360"/>
                    <a:gd name="connsiteX6" fmla="*/ 551681 w 1103360"/>
                    <a:gd name="connsiteY6" fmla="*/ 1103361 h 1103360"/>
                    <a:gd name="connsiteX7" fmla="*/ 161584 w 1103360"/>
                    <a:gd name="connsiteY7" fmla="*/ 941777 h 1103360"/>
                    <a:gd name="connsiteX8" fmla="*/ 1 w 1103360"/>
                    <a:gd name="connsiteY8" fmla="*/ 551680 h 1103360"/>
                    <a:gd name="connsiteX9" fmla="*/ 0 w 1103360"/>
                    <a:gd name="connsiteY9" fmla="*/ 551680 h 1103360"/>
                    <a:gd name="connsiteX0" fmla="*/ 0 w 1103361"/>
                    <a:gd name="connsiteY0" fmla="*/ 551680 h 1168377"/>
                    <a:gd name="connsiteX1" fmla="*/ 161584 w 1103361"/>
                    <a:gd name="connsiteY1" fmla="*/ 161583 h 1168377"/>
                    <a:gd name="connsiteX2" fmla="*/ 551681 w 1103361"/>
                    <a:gd name="connsiteY2" fmla="*/ 0 h 1168377"/>
                    <a:gd name="connsiteX3" fmla="*/ 941778 w 1103361"/>
                    <a:gd name="connsiteY3" fmla="*/ 161584 h 1168377"/>
                    <a:gd name="connsiteX4" fmla="*/ 1103361 w 1103361"/>
                    <a:gd name="connsiteY4" fmla="*/ 551681 h 1168377"/>
                    <a:gd name="connsiteX5" fmla="*/ 941778 w 1103361"/>
                    <a:gd name="connsiteY5" fmla="*/ 941778 h 1168377"/>
                    <a:gd name="connsiteX6" fmla="*/ 551681 w 1103361"/>
                    <a:gd name="connsiteY6" fmla="*/ 1103361 h 1168377"/>
                    <a:gd name="connsiteX7" fmla="*/ 1 w 1103361"/>
                    <a:gd name="connsiteY7" fmla="*/ 551680 h 1168377"/>
                    <a:gd name="connsiteX8" fmla="*/ 0 w 1103361"/>
                    <a:gd name="connsiteY8" fmla="*/ 551680 h 1168377"/>
                    <a:gd name="connsiteX0" fmla="*/ 1 w 1103361"/>
                    <a:gd name="connsiteY0" fmla="*/ 551680 h 1194801"/>
                    <a:gd name="connsiteX1" fmla="*/ 0 w 1103361"/>
                    <a:gd name="connsiteY1" fmla="*/ 551680 h 1194801"/>
                    <a:gd name="connsiteX2" fmla="*/ 161584 w 1103361"/>
                    <a:gd name="connsiteY2" fmla="*/ 161583 h 1194801"/>
                    <a:gd name="connsiteX3" fmla="*/ 551681 w 1103361"/>
                    <a:gd name="connsiteY3" fmla="*/ 0 h 1194801"/>
                    <a:gd name="connsiteX4" fmla="*/ 941778 w 1103361"/>
                    <a:gd name="connsiteY4" fmla="*/ 161584 h 1194801"/>
                    <a:gd name="connsiteX5" fmla="*/ 1103361 w 1103361"/>
                    <a:gd name="connsiteY5" fmla="*/ 551681 h 1194801"/>
                    <a:gd name="connsiteX6" fmla="*/ 941778 w 1103361"/>
                    <a:gd name="connsiteY6" fmla="*/ 941778 h 1194801"/>
                    <a:gd name="connsiteX7" fmla="*/ 643121 w 1103361"/>
                    <a:gd name="connsiteY7" fmla="*/ 1194801 h 1194801"/>
                    <a:gd name="connsiteX0" fmla="*/ 1 w 1103361"/>
                    <a:gd name="connsiteY0" fmla="*/ 551680 h 941778"/>
                    <a:gd name="connsiteX1" fmla="*/ 0 w 1103361"/>
                    <a:gd name="connsiteY1" fmla="*/ 551680 h 941778"/>
                    <a:gd name="connsiteX2" fmla="*/ 161584 w 1103361"/>
                    <a:gd name="connsiteY2" fmla="*/ 161583 h 941778"/>
                    <a:gd name="connsiteX3" fmla="*/ 551681 w 1103361"/>
                    <a:gd name="connsiteY3" fmla="*/ 0 h 941778"/>
                    <a:gd name="connsiteX4" fmla="*/ 941778 w 1103361"/>
                    <a:gd name="connsiteY4" fmla="*/ 161584 h 941778"/>
                    <a:gd name="connsiteX5" fmla="*/ 1103361 w 1103361"/>
                    <a:gd name="connsiteY5" fmla="*/ 551681 h 941778"/>
                    <a:gd name="connsiteX6" fmla="*/ 941778 w 1103361"/>
                    <a:gd name="connsiteY6" fmla="*/ 941778 h 941778"/>
                    <a:gd name="connsiteX0" fmla="*/ 1 w 1103361"/>
                    <a:gd name="connsiteY0" fmla="*/ 551680 h 551681"/>
                    <a:gd name="connsiteX1" fmla="*/ 0 w 1103361"/>
                    <a:gd name="connsiteY1" fmla="*/ 551680 h 551681"/>
                    <a:gd name="connsiteX2" fmla="*/ 161584 w 1103361"/>
                    <a:gd name="connsiteY2" fmla="*/ 161583 h 551681"/>
                    <a:gd name="connsiteX3" fmla="*/ 551681 w 1103361"/>
                    <a:gd name="connsiteY3" fmla="*/ 0 h 551681"/>
                    <a:gd name="connsiteX4" fmla="*/ 941778 w 1103361"/>
                    <a:gd name="connsiteY4" fmla="*/ 161584 h 551681"/>
                    <a:gd name="connsiteX5" fmla="*/ 1103361 w 1103361"/>
                    <a:gd name="connsiteY5" fmla="*/ 551681 h 551681"/>
                    <a:gd name="connsiteX0" fmla="*/ 1 w 941778"/>
                    <a:gd name="connsiteY0" fmla="*/ 551680 h 551680"/>
                    <a:gd name="connsiteX1" fmla="*/ 0 w 941778"/>
                    <a:gd name="connsiteY1" fmla="*/ 551680 h 551680"/>
                    <a:gd name="connsiteX2" fmla="*/ 161584 w 941778"/>
                    <a:gd name="connsiteY2" fmla="*/ 161583 h 551680"/>
                    <a:gd name="connsiteX3" fmla="*/ 551681 w 941778"/>
                    <a:gd name="connsiteY3" fmla="*/ 0 h 551680"/>
                    <a:gd name="connsiteX4" fmla="*/ 941778 w 941778"/>
                    <a:gd name="connsiteY4" fmla="*/ 161584 h 551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1778" h="551680">
                      <a:moveTo>
                        <a:pt x="1" y="551680"/>
                      </a:moveTo>
                      <a:lnTo>
                        <a:pt x="0" y="551680"/>
                      </a:lnTo>
                      <a:cubicBezTo>
                        <a:pt x="0" y="405365"/>
                        <a:pt x="58124" y="265043"/>
                        <a:pt x="161584" y="161583"/>
                      </a:cubicBezTo>
                      <a:cubicBezTo>
                        <a:pt x="265044" y="58123"/>
                        <a:pt x="405366" y="0"/>
                        <a:pt x="551681" y="0"/>
                      </a:cubicBezTo>
                      <a:cubicBezTo>
                        <a:pt x="697996" y="0"/>
                        <a:pt x="838318" y="58124"/>
                        <a:pt x="941778" y="161584"/>
                      </a:cubicBezTo>
                    </a:path>
                  </a:pathLst>
                </a:custGeom>
                <a:noFill/>
                <a:ln w="57150">
                  <a:solidFill>
                    <a:srgbClr val="A6A7A8"/>
                  </a:solidFill>
                </a:ln>
                <a:effectLst/>
              </p:spPr>
              <p:style>
                <a:lnRef idx="0">
                  <a:schemeClr val="accent3"/>
                </a:lnRef>
                <a:fillRef idx="1001">
                  <a:schemeClr val="lt1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l-PL" sz="3200" b="1" dirty="0">
                    <a:ln w="10160">
                      <a:noFill/>
                      <a:prstDash val="solid"/>
                    </a:ln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8" name="Dowolny kształt 37"/>
                <p:cNvSpPr/>
                <p:nvPr/>
              </p:nvSpPr>
              <p:spPr>
                <a:xfrm rot="10800000">
                  <a:off x="3771137" y="2742514"/>
                  <a:ext cx="1001135" cy="586451"/>
                </a:xfrm>
                <a:custGeom>
                  <a:avLst/>
                  <a:gdLst>
                    <a:gd name="connsiteX0" fmla="*/ 0 w 1103360"/>
                    <a:gd name="connsiteY0" fmla="*/ 551680 h 1103360"/>
                    <a:gd name="connsiteX1" fmla="*/ 161584 w 1103360"/>
                    <a:gd name="connsiteY1" fmla="*/ 161583 h 1103360"/>
                    <a:gd name="connsiteX2" fmla="*/ 551681 w 1103360"/>
                    <a:gd name="connsiteY2" fmla="*/ 0 h 1103360"/>
                    <a:gd name="connsiteX3" fmla="*/ 941778 w 1103360"/>
                    <a:gd name="connsiteY3" fmla="*/ 161584 h 1103360"/>
                    <a:gd name="connsiteX4" fmla="*/ 1103361 w 1103360"/>
                    <a:gd name="connsiteY4" fmla="*/ 551681 h 1103360"/>
                    <a:gd name="connsiteX5" fmla="*/ 941778 w 1103360"/>
                    <a:gd name="connsiteY5" fmla="*/ 941778 h 1103360"/>
                    <a:gd name="connsiteX6" fmla="*/ 551681 w 1103360"/>
                    <a:gd name="connsiteY6" fmla="*/ 1103361 h 1103360"/>
                    <a:gd name="connsiteX7" fmla="*/ 161584 w 1103360"/>
                    <a:gd name="connsiteY7" fmla="*/ 941777 h 1103360"/>
                    <a:gd name="connsiteX8" fmla="*/ 1 w 1103360"/>
                    <a:gd name="connsiteY8" fmla="*/ 551680 h 1103360"/>
                    <a:gd name="connsiteX9" fmla="*/ 0 w 1103360"/>
                    <a:gd name="connsiteY9" fmla="*/ 551680 h 1103360"/>
                    <a:gd name="connsiteX0" fmla="*/ 0 w 1103361"/>
                    <a:gd name="connsiteY0" fmla="*/ 551680 h 1168377"/>
                    <a:gd name="connsiteX1" fmla="*/ 161584 w 1103361"/>
                    <a:gd name="connsiteY1" fmla="*/ 161583 h 1168377"/>
                    <a:gd name="connsiteX2" fmla="*/ 551681 w 1103361"/>
                    <a:gd name="connsiteY2" fmla="*/ 0 h 1168377"/>
                    <a:gd name="connsiteX3" fmla="*/ 941778 w 1103361"/>
                    <a:gd name="connsiteY3" fmla="*/ 161584 h 1168377"/>
                    <a:gd name="connsiteX4" fmla="*/ 1103361 w 1103361"/>
                    <a:gd name="connsiteY4" fmla="*/ 551681 h 1168377"/>
                    <a:gd name="connsiteX5" fmla="*/ 941778 w 1103361"/>
                    <a:gd name="connsiteY5" fmla="*/ 941778 h 1168377"/>
                    <a:gd name="connsiteX6" fmla="*/ 551681 w 1103361"/>
                    <a:gd name="connsiteY6" fmla="*/ 1103361 h 1168377"/>
                    <a:gd name="connsiteX7" fmla="*/ 1 w 1103361"/>
                    <a:gd name="connsiteY7" fmla="*/ 551680 h 1168377"/>
                    <a:gd name="connsiteX8" fmla="*/ 0 w 1103361"/>
                    <a:gd name="connsiteY8" fmla="*/ 551680 h 1168377"/>
                    <a:gd name="connsiteX0" fmla="*/ 1 w 1103361"/>
                    <a:gd name="connsiteY0" fmla="*/ 551680 h 1194801"/>
                    <a:gd name="connsiteX1" fmla="*/ 0 w 1103361"/>
                    <a:gd name="connsiteY1" fmla="*/ 551680 h 1194801"/>
                    <a:gd name="connsiteX2" fmla="*/ 161584 w 1103361"/>
                    <a:gd name="connsiteY2" fmla="*/ 161583 h 1194801"/>
                    <a:gd name="connsiteX3" fmla="*/ 551681 w 1103361"/>
                    <a:gd name="connsiteY3" fmla="*/ 0 h 1194801"/>
                    <a:gd name="connsiteX4" fmla="*/ 941778 w 1103361"/>
                    <a:gd name="connsiteY4" fmla="*/ 161584 h 1194801"/>
                    <a:gd name="connsiteX5" fmla="*/ 1103361 w 1103361"/>
                    <a:gd name="connsiteY5" fmla="*/ 551681 h 1194801"/>
                    <a:gd name="connsiteX6" fmla="*/ 941778 w 1103361"/>
                    <a:gd name="connsiteY6" fmla="*/ 941778 h 1194801"/>
                    <a:gd name="connsiteX7" fmla="*/ 643121 w 1103361"/>
                    <a:gd name="connsiteY7" fmla="*/ 1194801 h 1194801"/>
                    <a:gd name="connsiteX0" fmla="*/ 1 w 1103361"/>
                    <a:gd name="connsiteY0" fmla="*/ 551680 h 941778"/>
                    <a:gd name="connsiteX1" fmla="*/ 0 w 1103361"/>
                    <a:gd name="connsiteY1" fmla="*/ 551680 h 941778"/>
                    <a:gd name="connsiteX2" fmla="*/ 161584 w 1103361"/>
                    <a:gd name="connsiteY2" fmla="*/ 161583 h 941778"/>
                    <a:gd name="connsiteX3" fmla="*/ 551681 w 1103361"/>
                    <a:gd name="connsiteY3" fmla="*/ 0 h 941778"/>
                    <a:gd name="connsiteX4" fmla="*/ 941778 w 1103361"/>
                    <a:gd name="connsiteY4" fmla="*/ 161584 h 941778"/>
                    <a:gd name="connsiteX5" fmla="*/ 1103361 w 1103361"/>
                    <a:gd name="connsiteY5" fmla="*/ 551681 h 941778"/>
                    <a:gd name="connsiteX6" fmla="*/ 941778 w 1103361"/>
                    <a:gd name="connsiteY6" fmla="*/ 941778 h 941778"/>
                    <a:gd name="connsiteX0" fmla="*/ 1 w 1103361"/>
                    <a:gd name="connsiteY0" fmla="*/ 551680 h 551681"/>
                    <a:gd name="connsiteX1" fmla="*/ 0 w 1103361"/>
                    <a:gd name="connsiteY1" fmla="*/ 551680 h 551681"/>
                    <a:gd name="connsiteX2" fmla="*/ 161584 w 1103361"/>
                    <a:gd name="connsiteY2" fmla="*/ 161583 h 551681"/>
                    <a:gd name="connsiteX3" fmla="*/ 551681 w 1103361"/>
                    <a:gd name="connsiteY3" fmla="*/ 0 h 551681"/>
                    <a:gd name="connsiteX4" fmla="*/ 941778 w 1103361"/>
                    <a:gd name="connsiteY4" fmla="*/ 161584 h 551681"/>
                    <a:gd name="connsiteX5" fmla="*/ 1103361 w 1103361"/>
                    <a:gd name="connsiteY5" fmla="*/ 551681 h 551681"/>
                    <a:gd name="connsiteX0" fmla="*/ 1 w 941778"/>
                    <a:gd name="connsiteY0" fmla="*/ 551680 h 551680"/>
                    <a:gd name="connsiteX1" fmla="*/ 0 w 941778"/>
                    <a:gd name="connsiteY1" fmla="*/ 551680 h 551680"/>
                    <a:gd name="connsiteX2" fmla="*/ 161584 w 941778"/>
                    <a:gd name="connsiteY2" fmla="*/ 161583 h 551680"/>
                    <a:gd name="connsiteX3" fmla="*/ 551681 w 941778"/>
                    <a:gd name="connsiteY3" fmla="*/ 0 h 551680"/>
                    <a:gd name="connsiteX4" fmla="*/ 941778 w 941778"/>
                    <a:gd name="connsiteY4" fmla="*/ 161584 h 551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1778" h="551680">
                      <a:moveTo>
                        <a:pt x="1" y="551680"/>
                      </a:moveTo>
                      <a:lnTo>
                        <a:pt x="0" y="551680"/>
                      </a:lnTo>
                      <a:cubicBezTo>
                        <a:pt x="0" y="405365"/>
                        <a:pt x="58124" y="265043"/>
                        <a:pt x="161584" y="161583"/>
                      </a:cubicBezTo>
                      <a:cubicBezTo>
                        <a:pt x="265044" y="58123"/>
                        <a:pt x="405366" y="0"/>
                        <a:pt x="551681" y="0"/>
                      </a:cubicBezTo>
                      <a:cubicBezTo>
                        <a:pt x="697996" y="0"/>
                        <a:pt x="838318" y="58124"/>
                        <a:pt x="941778" y="161584"/>
                      </a:cubicBezTo>
                    </a:path>
                  </a:pathLst>
                </a:custGeom>
                <a:noFill/>
                <a:ln w="57150">
                  <a:solidFill>
                    <a:srgbClr val="A6A7A8"/>
                  </a:solidFill>
                </a:ln>
                <a:effectLst/>
              </p:spPr>
              <p:style>
                <a:lnRef idx="0">
                  <a:schemeClr val="accent3"/>
                </a:lnRef>
                <a:fillRef idx="1001">
                  <a:schemeClr val="lt1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l-PL" sz="3200" b="1" dirty="0">
                    <a:ln w="10160">
                      <a:noFill/>
                      <a:prstDash val="solid"/>
                    </a:ln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cxnSp>
            <p:nvCxnSpPr>
              <p:cNvPr id="55" name="Łącznik prosty 54"/>
              <p:cNvCxnSpPr/>
              <p:nvPr/>
            </p:nvCxnSpPr>
            <p:spPr>
              <a:xfrm rot="10800000">
                <a:off x="3288256" y="2724858"/>
                <a:ext cx="339818" cy="2963"/>
              </a:xfrm>
              <a:prstGeom prst="line">
                <a:avLst/>
              </a:prstGeom>
              <a:ln w="57150">
                <a:solidFill>
                  <a:srgbClr val="A6A7A8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3" name="Grupa 72"/>
          <p:cNvGrpSpPr/>
          <p:nvPr/>
        </p:nvGrpSpPr>
        <p:grpSpPr>
          <a:xfrm>
            <a:off x="5230047" y="2493974"/>
            <a:ext cx="1679641" cy="1023866"/>
            <a:chOff x="5119636" y="2119324"/>
            <a:chExt cx="1919234" cy="1169916"/>
          </a:xfrm>
        </p:grpSpPr>
        <p:grpSp>
          <p:nvGrpSpPr>
            <p:cNvPr id="45" name="Grupa 44"/>
            <p:cNvGrpSpPr/>
            <p:nvPr/>
          </p:nvGrpSpPr>
          <p:grpSpPr>
            <a:xfrm>
              <a:off x="5488840" y="2119324"/>
              <a:ext cx="1172904" cy="1169916"/>
              <a:chOff x="5488840" y="2159049"/>
              <a:chExt cx="1172904" cy="1169916"/>
            </a:xfrm>
          </p:grpSpPr>
          <p:sp>
            <p:nvSpPr>
              <p:cNvPr id="9" name="Elipsa 8"/>
              <p:cNvSpPr/>
              <p:nvPr/>
            </p:nvSpPr>
            <p:spPr>
              <a:xfrm>
                <a:off x="5524070" y="2191521"/>
                <a:ext cx="1103360" cy="1103360"/>
              </a:xfrm>
              <a:prstGeom prst="ellipse">
                <a:avLst/>
              </a:prstGeom>
              <a:ln/>
            </p:spPr>
            <p:style>
              <a:lnRef idx="0">
                <a:schemeClr val="accent3"/>
              </a:lnRef>
              <a:fillRef idx="1001">
                <a:schemeClr val="lt1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l-PL" sz="3200" b="1" dirty="0">
                    <a:ln w="10160">
                      <a:noFill/>
                      <a:prstDash val="solid"/>
                    </a:ln>
                    <a:solidFill>
                      <a:srgbClr val="D9DF20"/>
                    </a:solidFill>
                    <a:latin typeface="Arial" pitchFamily="34" charset="0"/>
                    <a:cs typeface="Arial" pitchFamily="34" charset="0"/>
                  </a:rPr>
                  <a:t>3</a:t>
                </a:r>
              </a:p>
            </p:txBody>
          </p:sp>
          <p:sp>
            <p:nvSpPr>
              <p:cNvPr id="39" name="Dowolny kształt 38"/>
              <p:cNvSpPr/>
              <p:nvPr/>
            </p:nvSpPr>
            <p:spPr>
              <a:xfrm>
                <a:off x="5488840" y="2159049"/>
                <a:ext cx="1001135" cy="586451"/>
              </a:xfrm>
              <a:custGeom>
                <a:avLst/>
                <a:gdLst>
                  <a:gd name="connsiteX0" fmla="*/ 0 w 1103360"/>
                  <a:gd name="connsiteY0" fmla="*/ 551680 h 1103360"/>
                  <a:gd name="connsiteX1" fmla="*/ 161584 w 1103360"/>
                  <a:gd name="connsiteY1" fmla="*/ 161583 h 1103360"/>
                  <a:gd name="connsiteX2" fmla="*/ 551681 w 1103360"/>
                  <a:gd name="connsiteY2" fmla="*/ 0 h 1103360"/>
                  <a:gd name="connsiteX3" fmla="*/ 941778 w 1103360"/>
                  <a:gd name="connsiteY3" fmla="*/ 161584 h 1103360"/>
                  <a:gd name="connsiteX4" fmla="*/ 1103361 w 1103360"/>
                  <a:gd name="connsiteY4" fmla="*/ 551681 h 1103360"/>
                  <a:gd name="connsiteX5" fmla="*/ 941778 w 1103360"/>
                  <a:gd name="connsiteY5" fmla="*/ 941778 h 1103360"/>
                  <a:gd name="connsiteX6" fmla="*/ 551681 w 1103360"/>
                  <a:gd name="connsiteY6" fmla="*/ 1103361 h 1103360"/>
                  <a:gd name="connsiteX7" fmla="*/ 161584 w 1103360"/>
                  <a:gd name="connsiteY7" fmla="*/ 941777 h 1103360"/>
                  <a:gd name="connsiteX8" fmla="*/ 1 w 1103360"/>
                  <a:gd name="connsiteY8" fmla="*/ 551680 h 1103360"/>
                  <a:gd name="connsiteX9" fmla="*/ 0 w 1103360"/>
                  <a:gd name="connsiteY9" fmla="*/ 551680 h 1103360"/>
                  <a:gd name="connsiteX0" fmla="*/ 0 w 1103361"/>
                  <a:gd name="connsiteY0" fmla="*/ 551680 h 1168377"/>
                  <a:gd name="connsiteX1" fmla="*/ 161584 w 1103361"/>
                  <a:gd name="connsiteY1" fmla="*/ 161583 h 1168377"/>
                  <a:gd name="connsiteX2" fmla="*/ 551681 w 1103361"/>
                  <a:gd name="connsiteY2" fmla="*/ 0 h 1168377"/>
                  <a:gd name="connsiteX3" fmla="*/ 941778 w 1103361"/>
                  <a:gd name="connsiteY3" fmla="*/ 161584 h 1168377"/>
                  <a:gd name="connsiteX4" fmla="*/ 1103361 w 1103361"/>
                  <a:gd name="connsiteY4" fmla="*/ 551681 h 1168377"/>
                  <a:gd name="connsiteX5" fmla="*/ 941778 w 1103361"/>
                  <a:gd name="connsiteY5" fmla="*/ 941778 h 1168377"/>
                  <a:gd name="connsiteX6" fmla="*/ 551681 w 1103361"/>
                  <a:gd name="connsiteY6" fmla="*/ 1103361 h 1168377"/>
                  <a:gd name="connsiteX7" fmla="*/ 1 w 1103361"/>
                  <a:gd name="connsiteY7" fmla="*/ 551680 h 1168377"/>
                  <a:gd name="connsiteX8" fmla="*/ 0 w 1103361"/>
                  <a:gd name="connsiteY8" fmla="*/ 551680 h 1168377"/>
                  <a:gd name="connsiteX0" fmla="*/ 1 w 1103361"/>
                  <a:gd name="connsiteY0" fmla="*/ 551680 h 1194801"/>
                  <a:gd name="connsiteX1" fmla="*/ 0 w 1103361"/>
                  <a:gd name="connsiteY1" fmla="*/ 551680 h 1194801"/>
                  <a:gd name="connsiteX2" fmla="*/ 161584 w 1103361"/>
                  <a:gd name="connsiteY2" fmla="*/ 161583 h 1194801"/>
                  <a:gd name="connsiteX3" fmla="*/ 551681 w 1103361"/>
                  <a:gd name="connsiteY3" fmla="*/ 0 h 1194801"/>
                  <a:gd name="connsiteX4" fmla="*/ 941778 w 1103361"/>
                  <a:gd name="connsiteY4" fmla="*/ 161584 h 1194801"/>
                  <a:gd name="connsiteX5" fmla="*/ 1103361 w 1103361"/>
                  <a:gd name="connsiteY5" fmla="*/ 551681 h 1194801"/>
                  <a:gd name="connsiteX6" fmla="*/ 941778 w 1103361"/>
                  <a:gd name="connsiteY6" fmla="*/ 941778 h 1194801"/>
                  <a:gd name="connsiteX7" fmla="*/ 643121 w 1103361"/>
                  <a:gd name="connsiteY7" fmla="*/ 1194801 h 1194801"/>
                  <a:gd name="connsiteX0" fmla="*/ 1 w 1103361"/>
                  <a:gd name="connsiteY0" fmla="*/ 551680 h 941778"/>
                  <a:gd name="connsiteX1" fmla="*/ 0 w 1103361"/>
                  <a:gd name="connsiteY1" fmla="*/ 551680 h 941778"/>
                  <a:gd name="connsiteX2" fmla="*/ 161584 w 1103361"/>
                  <a:gd name="connsiteY2" fmla="*/ 161583 h 941778"/>
                  <a:gd name="connsiteX3" fmla="*/ 551681 w 1103361"/>
                  <a:gd name="connsiteY3" fmla="*/ 0 h 941778"/>
                  <a:gd name="connsiteX4" fmla="*/ 941778 w 1103361"/>
                  <a:gd name="connsiteY4" fmla="*/ 161584 h 941778"/>
                  <a:gd name="connsiteX5" fmla="*/ 1103361 w 1103361"/>
                  <a:gd name="connsiteY5" fmla="*/ 551681 h 941778"/>
                  <a:gd name="connsiteX6" fmla="*/ 941778 w 1103361"/>
                  <a:gd name="connsiteY6" fmla="*/ 941778 h 941778"/>
                  <a:gd name="connsiteX0" fmla="*/ 1 w 1103361"/>
                  <a:gd name="connsiteY0" fmla="*/ 551680 h 551681"/>
                  <a:gd name="connsiteX1" fmla="*/ 0 w 1103361"/>
                  <a:gd name="connsiteY1" fmla="*/ 551680 h 551681"/>
                  <a:gd name="connsiteX2" fmla="*/ 161584 w 1103361"/>
                  <a:gd name="connsiteY2" fmla="*/ 161583 h 551681"/>
                  <a:gd name="connsiteX3" fmla="*/ 551681 w 1103361"/>
                  <a:gd name="connsiteY3" fmla="*/ 0 h 551681"/>
                  <a:gd name="connsiteX4" fmla="*/ 941778 w 1103361"/>
                  <a:gd name="connsiteY4" fmla="*/ 161584 h 551681"/>
                  <a:gd name="connsiteX5" fmla="*/ 1103361 w 1103361"/>
                  <a:gd name="connsiteY5" fmla="*/ 551681 h 551681"/>
                  <a:gd name="connsiteX0" fmla="*/ 1 w 941778"/>
                  <a:gd name="connsiteY0" fmla="*/ 551680 h 551680"/>
                  <a:gd name="connsiteX1" fmla="*/ 0 w 941778"/>
                  <a:gd name="connsiteY1" fmla="*/ 551680 h 551680"/>
                  <a:gd name="connsiteX2" fmla="*/ 161584 w 941778"/>
                  <a:gd name="connsiteY2" fmla="*/ 161583 h 551680"/>
                  <a:gd name="connsiteX3" fmla="*/ 551681 w 941778"/>
                  <a:gd name="connsiteY3" fmla="*/ 0 h 551680"/>
                  <a:gd name="connsiteX4" fmla="*/ 941778 w 941778"/>
                  <a:gd name="connsiteY4" fmla="*/ 161584 h 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41778" h="551680">
                    <a:moveTo>
                      <a:pt x="1" y="551680"/>
                    </a:moveTo>
                    <a:lnTo>
                      <a:pt x="0" y="551680"/>
                    </a:lnTo>
                    <a:cubicBezTo>
                      <a:pt x="0" y="405365"/>
                      <a:pt x="58124" y="265043"/>
                      <a:pt x="161584" y="161583"/>
                    </a:cubicBezTo>
                    <a:cubicBezTo>
                      <a:pt x="265044" y="58123"/>
                      <a:pt x="405366" y="0"/>
                      <a:pt x="551681" y="0"/>
                    </a:cubicBezTo>
                    <a:cubicBezTo>
                      <a:pt x="697996" y="0"/>
                      <a:pt x="838318" y="58124"/>
                      <a:pt x="941778" y="161584"/>
                    </a:cubicBezTo>
                  </a:path>
                </a:pathLst>
              </a:custGeom>
              <a:noFill/>
              <a:ln w="57150">
                <a:solidFill>
                  <a:srgbClr val="D9DF20"/>
                </a:solidFill>
              </a:ln>
              <a:effectLst/>
            </p:spPr>
            <p:style>
              <a:lnRef idx="0">
                <a:schemeClr val="accent3"/>
              </a:lnRef>
              <a:fillRef idx="1001">
                <a:schemeClr val="lt1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l-PL" sz="3200" b="1" dirty="0">
                  <a:ln w="10160">
                    <a:noFill/>
                    <a:prstDash val="solid"/>
                  </a:ln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0" name="Dowolny kształt 39"/>
              <p:cNvSpPr/>
              <p:nvPr/>
            </p:nvSpPr>
            <p:spPr>
              <a:xfrm rot="10800000">
                <a:off x="5660609" y="2742514"/>
                <a:ext cx="1001135" cy="586451"/>
              </a:xfrm>
              <a:custGeom>
                <a:avLst/>
                <a:gdLst>
                  <a:gd name="connsiteX0" fmla="*/ 0 w 1103360"/>
                  <a:gd name="connsiteY0" fmla="*/ 551680 h 1103360"/>
                  <a:gd name="connsiteX1" fmla="*/ 161584 w 1103360"/>
                  <a:gd name="connsiteY1" fmla="*/ 161583 h 1103360"/>
                  <a:gd name="connsiteX2" fmla="*/ 551681 w 1103360"/>
                  <a:gd name="connsiteY2" fmla="*/ 0 h 1103360"/>
                  <a:gd name="connsiteX3" fmla="*/ 941778 w 1103360"/>
                  <a:gd name="connsiteY3" fmla="*/ 161584 h 1103360"/>
                  <a:gd name="connsiteX4" fmla="*/ 1103361 w 1103360"/>
                  <a:gd name="connsiteY4" fmla="*/ 551681 h 1103360"/>
                  <a:gd name="connsiteX5" fmla="*/ 941778 w 1103360"/>
                  <a:gd name="connsiteY5" fmla="*/ 941778 h 1103360"/>
                  <a:gd name="connsiteX6" fmla="*/ 551681 w 1103360"/>
                  <a:gd name="connsiteY6" fmla="*/ 1103361 h 1103360"/>
                  <a:gd name="connsiteX7" fmla="*/ 161584 w 1103360"/>
                  <a:gd name="connsiteY7" fmla="*/ 941777 h 1103360"/>
                  <a:gd name="connsiteX8" fmla="*/ 1 w 1103360"/>
                  <a:gd name="connsiteY8" fmla="*/ 551680 h 1103360"/>
                  <a:gd name="connsiteX9" fmla="*/ 0 w 1103360"/>
                  <a:gd name="connsiteY9" fmla="*/ 551680 h 1103360"/>
                  <a:gd name="connsiteX0" fmla="*/ 0 w 1103361"/>
                  <a:gd name="connsiteY0" fmla="*/ 551680 h 1168377"/>
                  <a:gd name="connsiteX1" fmla="*/ 161584 w 1103361"/>
                  <a:gd name="connsiteY1" fmla="*/ 161583 h 1168377"/>
                  <a:gd name="connsiteX2" fmla="*/ 551681 w 1103361"/>
                  <a:gd name="connsiteY2" fmla="*/ 0 h 1168377"/>
                  <a:gd name="connsiteX3" fmla="*/ 941778 w 1103361"/>
                  <a:gd name="connsiteY3" fmla="*/ 161584 h 1168377"/>
                  <a:gd name="connsiteX4" fmla="*/ 1103361 w 1103361"/>
                  <a:gd name="connsiteY4" fmla="*/ 551681 h 1168377"/>
                  <a:gd name="connsiteX5" fmla="*/ 941778 w 1103361"/>
                  <a:gd name="connsiteY5" fmla="*/ 941778 h 1168377"/>
                  <a:gd name="connsiteX6" fmla="*/ 551681 w 1103361"/>
                  <a:gd name="connsiteY6" fmla="*/ 1103361 h 1168377"/>
                  <a:gd name="connsiteX7" fmla="*/ 1 w 1103361"/>
                  <a:gd name="connsiteY7" fmla="*/ 551680 h 1168377"/>
                  <a:gd name="connsiteX8" fmla="*/ 0 w 1103361"/>
                  <a:gd name="connsiteY8" fmla="*/ 551680 h 1168377"/>
                  <a:gd name="connsiteX0" fmla="*/ 1 w 1103361"/>
                  <a:gd name="connsiteY0" fmla="*/ 551680 h 1194801"/>
                  <a:gd name="connsiteX1" fmla="*/ 0 w 1103361"/>
                  <a:gd name="connsiteY1" fmla="*/ 551680 h 1194801"/>
                  <a:gd name="connsiteX2" fmla="*/ 161584 w 1103361"/>
                  <a:gd name="connsiteY2" fmla="*/ 161583 h 1194801"/>
                  <a:gd name="connsiteX3" fmla="*/ 551681 w 1103361"/>
                  <a:gd name="connsiteY3" fmla="*/ 0 h 1194801"/>
                  <a:gd name="connsiteX4" fmla="*/ 941778 w 1103361"/>
                  <a:gd name="connsiteY4" fmla="*/ 161584 h 1194801"/>
                  <a:gd name="connsiteX5" fmla="*/ 1103361 w 1103361"/>
                  <a:gd name="connsiteY5" fmla="*/ 551681 h 1194801"/>
                  <a:gd name="connsiteX6" fmla="*/ 941778 w 1103361"/>
                  <a:gd name="connsiteY6" fmla="*/ 941778 h 1194801"/>
                  <a:gd name="connsiteX7" fmla="*/ 643121 w 1103361"/>
                  <a:gd name="connsiteY7" fmla="*/ 1194801 h 1194801"/>
                  <a:gd name="connsiteX0" fmla="*/ 1 w 1103361"/>
                  <a:gd name="connsiteY0" fmla="*/ 551680 h 941778"/>
                  <a:gd name="connsiteX1" fmla="*/ 0 w 1103361"/>
                  <a:gd name="connsiteY1" fmla="*/ 551680 h 941778"/>
                  <a:gd name="connsiteX2" fmla="*/ 161584 w 1103361"/>
                  <a:gd name="connsiteY2" fmla="*/ 161583 h 941778"/>
                  <a:gd name="connsiteX3" fmla="*/ 551681 w 1103361"/>
                  <a:gd name="connsiteY3" fmla="*/ 0 h 941778"/>
                  <a:gd name="connsiteX4" fmla="*/ 941778 w 1103361"/>
                  <a:gd name="connsiteY4" fmla="*/ 161584 h 941778"/>
                  <a:gd name="connsiteX5" fmla="*/ 1103361 w 1103361"/>
                  <a:gd name="connsiteY5" fmla="*/ 551681 h 941778"/>
                  <a:gd name="connsiteX6" fmla="*/ 941778 w 1103361"/>
                  <a:gd name="connsiteY6" fmla="*/ 941778 h 941778"/>
                  <a:gd name="connsiteX0" fmla="*/ 1 w 1103361"/>
                  <a:gd name="connsiteY0" fmla="*/ 551680 h 551681"/>
                  <a:gd name="connsiteX1" fmla="*/ 0 w 1103361"/>
                  <a:gd name="connsiteY1" fmla="*/ 551680 h 551681"/>
                  <a:gd name="connsiteX2" fmla="*/ 161584 w 1103361"/>
                  <a:gd name="connsiteY2" fmla="*/ 161583 h 551681"/>
                  <a:gd name="connsiteX3" fmla="*/ 551681 w 1103361"/>
                  <a:gd name="connsiteY3" fmla="*/ 0 h 551681"/>
                  <a:gd name="connsiteX4" fmla="*/ 941778 w 1103361"/>
                  <a:gd name="connsiteY4" fmla="*/ 161584 h 551681"/>
                  <a:gd name="connsiteX5" fmla="*/ 1103361 w 1103361"/>
                  <a:gd name="connsiteY5" fmla="*/ 551681 h 551681"/>
                  <a:gd name="connsiteX0" fmla="*/ 1 w 941778"/>
                  <a:gd name="connsiteY0" fmla="*/ 551680 h 551680"/>
                  <a:gd name="connsiteX1" fmla="*/ 0 w 941778"/>
                  <a:gd name="connsiteY1" fmla="*/ 551680 h 551680"/>
                  <a:gd name="connsiteX2" fmla="*/ 161584 w 941778"/>
                  <a:gd name="connsiteY2" fmla="*/ 161583 h 551680"/>
                  <a:gd name="connsiteX3" fmla="*/ 551681 w 941778"/>
                  <a:gd name="connsiteY3" fmla="*/ 0 h 551680"/>
                  <a:gd name="connsiteX4" fmla="*/ 941778 w 941778"/>
                  <a:gd name="connsiteY4" fmla="*/ 161584 h 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41778" h="551680">
                    <a:moveTo>
                      <a:pt x="1" y="551680"/>
                    </a:moveTo>
                    <a:lnTo>
                      <a:pt x="0" y="551680"/>
                    </a:lnTo>
                    <a:cubicBezTo>
                      <a:pt x="0" y="405365"/>
                      <a:pt x="58124" y="265043"/>
                      <a:pt x="161584" y="161583"/>
                    </a:cubicBezTo>
                    <a:cubicBezTo>
                      <a:pt x="265044" y="58123"/>
                      <a:pt x="405366" y="0"/>
                      <a:pt x="551681" y="0"/>
                    </a:cubicBezTo>
                    <a:cubicBezTo>
                      <a:pt x="697996" y="0"/>
                      <a:pt x="838318" y="58124"/>
                      <a:pt x="941778" y="161584"/>
                    </a:cubicBezTo>
                  </a:path>
                </a:pathLst>
              </a:custGeom>
              <a:noFill/>
              <a:ln w="57150">
                <a:solidFill>
                  <a:srgbClr val="D9DF20"/>
                </a:solidFill>
              </a:ln>
              <a:effectLst/>
            </p:spPr>
            <p:style>
              <a:lnRef idx="0">
                <a:schemeClr val="accent3"/>
              </a:lnRef>
              <a:fillRef idx="1001">
                <a:schemeClr val="lt1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l-PL" sz="3200" b="1" dirty="0">
                  <a:ln w="10160">
                    <a:noFill/>
                    <a:prstDash val="solid"/>
                  </a:ln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cxnSp>
          <p:nvCxnSpPr>
            <p:cNvPr id="49" name="Łącznik prosty 48"/>
            <p:cNvCxnSpPr/>
            <p:nvPr/>
          </p:nvCxnSpPr>
          <p:spPr>
            <a:xfrm>
              <a:off x="6639958" y="2729828"/>
              <a:ext cx="398912" cy="8348"/>
            </a:xfrm>
            <a:prstGeom prst="line">
              <a:avLst/>
            </a:prstGeom>
            <a:ln w="57150">
              <a:solidFill>
                <a:srgbClr val="D9DF2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Łącznik prosty 55"/>
            <p:cNvCxnSpPr/>
            <p:nvPr/>
          </p:nvCxnSpPr>
          <p:spPr>
            <a:xfrm rot="10800000" flipV="1">
              <a:off x="5119636" y="2732582"/>
              <a:ext cx="397253" cy="570"/>
            </a:xfrm>
            <a:prstGeom prst="line">
              <a:avLst/>
            </a:prstGeom>
            <a:ln w="57150">
              <a:solidFill>
                <a:srgbClr val="D9DF2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Grupa 78"/>
          <p:cNvGrpSpPr/>
          <p:nvPr/>
        </p:nvGrpSpPr>
        <p:grpSpPr>
          <a:xfrm>
            <a:off x="9008532" y="2493974"/>
            <a:ext cx="1742454" cy="1023866"/>
            <a:chOff x="8764243" y="2119324"/>
            <a:chExt cx="1991006" cy="1169916"/>
          </a:xfrm>
        </p:grpSpPr>
        <p:grpSp>
          <p:nvGrpSpPr>
            <p:cNvPr id="47" name="Grupa 46"/>
            <p:cNvGrpSpPr/>
            <p:nvPr/>
          </p:nvGrpSpPr>
          <p:grpSpPr>
            <a:xfrm>
              <a:off x="9133791" y="2119324"/>
              <a:ext cx="1172904" cy="1169916"/>
              <a:chOff x="9133791" y="2159047"/>
              <a:chExt cx="1172904" cy="1169916"/>
            </a:xfrm>
          </p:grpSpPr>
          <p:sp>
            <p:nvSpPr>
              <p:cNvPr id="7" name="Elipsa 6"/>
              <p:cNvSpPr/>
              <p:nvPr/>
            </p:nvSpPr>
            <p:spPr>
              <a:xfrm>
                <a:off x="9169008" y="2191521"/>
                <a:ext cx="1103360" cy="1103360"/>
              </a:xfrm>
              <a:prstGeom prst="ellipse">
                <a:avLst/>
              </a:prstGeom>
              <a:ln>
                <a:noFill/>
              </a:ln>
            </p:spPr>
            <p:style>
              <a:lnRef idx="0">
                <a:schemeClr val="accent3"/>
              </a:lnRef>
              <a:fillRef idx="1001">
                <a:schemeClr val="lt1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l-PL" sz="3200" b="1" dirty="0">
                    <a:ln w="10160">
                      <a:noFill/>
                      <a:prstDash val="solid"/>
                    </a:ln>
                    <a:solidFill>
                      <a:srgbClr val="FB3162"/>
                    </a:solidFill>
                    <a:latin typeface="Arial" pitchFamily="34" charset="0"/>
                    <a:cs typeface="Arial" pitchFamily="34" charset="0"/>
                  </a:rPr>
                  <a:t>5</a:t>
                </a:r>
              </a:p>
            </p:txBody>
          </p:sp>
          <p:sp>
            <p:nvSpPr>
              <p:cNvPr id="35" name="Dowolny kształt 34"/>
              <p:cNvSpPr/>
              <p:nvPr/>
            </p:nvSpPr>
            <p:spPr>
              <a:xfrm>
                <a:off x="9133791" y="2159047"/>
                <a:ext cx="1001135" cy="586451"/>
              </a:xfrm>
              <a:custGeom>
                <a:avLst/>
                <a:gdLst>
                  <a:gd name="connsiteX0" fmla="*/ 0 w 1103360"/>
                  <a:gd name="connsiteY0" fmla="*/ 551680 h 1103360"/>
                  <a:gd name="connsiteX1" fmla="*/ 161584 w 1103360"/>
                  <a:gd name="connsiteY1" fmla="*/ 161583 h 1103360"/>
                  <a:gd name="connsiteX2" fmla="*/ 551681 w 1103360"/>
                  <a:gd name="connsiteY2" fmla="*/ 0 h 1103360"/>
                  <a:gd name="connsiteX3" fmla="*/ 941778 w 1103360"/>
                  <a:gd name="connsiteY3" fmla="*/ 161584 h 1103360"/>
                  <a:gd name="connsiteX4" fmla="*/ 1103361 w 1103360"/>
                  <a:gd name="connsiteY4" fmla="*/ 551681 h 1103360"/>
                  <a:gd name="connsiteX5" fmla="*/ 941778 w 1103360"/>
                  <a:gd name="connsiteY5" fmla="*/ 941778 h 1103360"/>
                  <a:gd name="connsiteX6" fmla="*/ 551681 w 1103360"/>
                  <a:gd name="connsiteY6" fmla="*/ 1103361 h 1103360"/>
                  <a:gd name="connsiteX7" fmla="*/ 161584 w 1103360"/>
                  <a:gd name="connsiteY7" fmla="*/ 941777 h 1103360"/>
                  <a:gd name="connsiteX8" fmla="*/ 1 w 1103360"/>
                  <a:gd name="connsiteY8" fmla="*/ 551680 h 1103360"/>
                  <a:gd name="connsiteX9" fmla="*/ 0 w 1103360"/>
                  <a:gd name="connsiteY9" fmla="*/ 551680 h 1103360"/>
                  <a:gd name="connsiteX0" fmla="*/ 0 w 1103361"/>
                  <a:gd name="connsiteY0" fmla="*/ 551680 h 1168377"/>
                  <a:gd name="connsiteX1" fmla="*/ 161584 w 1103361"/>
                  <a:gd name="connsiteY1" fmla="*/ 161583 h 1168377"/>
                  <a:gd name="connsiteX2" fmla="*/ 551681 w 1103361"/>
                  <a:gd name="connsiteY2" fmla="*/ 0 h 1168377"/>
                  <a:gd name="connsiteX3" fmla="*/ 941778 w 1103361"/>
                  <a:gd name="connsiteY3" fmla="*/ 161584 h 1168377"/>
                  <a:gd name="connsiteX4" fmla="*/ 1103361 w 1103361"/>
                  <a:gd name="connsiteY4" fmla="*/ 551681 h 1168377"/>
                  <a:gd name="connsiteX5" fmla="*/ 941778 w 1103361"/>
                  <a:gd name="connsiteY5" fmla="*/ 941778 h 1168377"/>
                  <a:gd name="connsiteX6" fmla="*/ 551681 w 1103361"/>
                  <a:gd name="connsiteY6" fmla="*/ 1103361 h 1168377"/>
                  <a:gd name="connsiteX7" fmla="*/ 1 w 1103361"/>
                  <a:gd name="connsiteY7" fmla="*/ 551680 h 1168377"/>
                  <a:gd name="connsiteX8" fmla="*/ 0 w 1103361"/>
                  <a:gd name="connsiteY8" fmla="*/ 551680 h 1168377"/>
                  <a:gd name="connsiteX0" fmla="*/ 1 w 1103361"/>
                  <a:gd name="connsiteY0" fmla="*/ 551680 h 1194801"/>
                  <a:gd name="connsiteX1" fmla="*/ 0 w 1103361"/>
                  <a:gd name="connsiteY1" fmla="*/ 551680 h 1194801"/>
                  <a:gd name="connsiteX2" fmla="*/ 161584 w 1103361"/>
                  <a:gd name="connsiteY2" fmla="*/ 161583 h 1194801"/>
                  <a:gd name="connsiteX3" fmla="*/ 551681 w 1103361"/>
                  <a:gd name="connsiteY3" fmla="*/ 0 h 1194801"/>
                  <a:gd name="connsiteX4" fmla="*/ 941778 w 1103361"/>
                  <a:gd name="connsiteY4" fmla="*/ 161584 h 1194801"/>
                  <a:gd name="connsiteX5" fmla="*/ 1103361 w 1103361"/>
                  <a:gd name="connsiteY5" fmla="*/ 551681 h 1194801"/>
                  <a:gd name="connsiteX6" fmla="*/ 941778 w 1103361"/>
                  <a:gd name="connsiteY6" fmla="*/ 941778 h 1194801"/>
                  <a:gd name="connsiteX7" fmla="*/ 643121 w 1103361"/>
                  <a:gd name="connsiteY7" fmla="*/ 1194801 h 1194801"/>
                  <a:gd name="connsiteX0" fmla="*/ 1 w 1103361"/>
                  <a:gd name="connsiteY0" fmla="*/ 551680 h 941778"/>
                  <a:gd name="connsiteX1" fmla="*/ 0 w 1103361"/>
                  <a:gd name="connsiteY1" fmla="*/ 551680 h 941778"/>
                  <a:gd name="connsiteX2" fmla="*/ 161584 w 1103361"/>
                  <a:gd name="connsiteY2" fmla="*/ 161583 h 941778"/>
                  <a:gd name="connsiteX3" fmla="*/ 551681 w 1103361"/>
                  <a:gd name="connsiteY3" fmla="*/ 0 h 941778"/>
                  <a:gd name="connsiteX4" fmla="*/ 941778 w 1103361"/>
                  <a:gd name="connsiteY4" fmla="*/ 161584 h 941778"/>
                  <a:gd name="connsiteX5" fmla="*/ 1103361 w 1103361"/>
                  <a:gd name="connsiteY5" fmla="*/ 551681 h 941778"/>
                  <a:gd name="connsiteX6" fmla="*/ 941778 w 1103361"/>
                  <a:gd name="connsiteY6" fmla="*/ 941778 h 941778"/>
                  <a:gd name="connsiteX0" fmla="*/ 1 w 1103361"/>
                  <a:gd name="connsiteY0" fmla="*/ 551680 h 551681"/>
                  <a:gd name="connsiteX1" fmla="*/ 0 w 1103361"/>
                  <a:gd name="connsiteY1" fmla="*/ 551680 h 551681"/>
                  <a:gd name="connsiteX2" fmla="*/ 161584 w 1103361"/>
                  <a:gd name="connsiteY2" fmla="*/ 161583 h 551681"/>
                  <a:gd name="connsiteX3" fmla="*/ 551681 w 1103361"/>
                  <a:gd name="connsiteY3" fmla="*/ 0 h 551681"/>
                  <a:gd name="connsiteX4" fmla="*/ 941778 w 1103361"/>
                  <a:gd name="connsiteY4" fmla="*/ 161584 h 551681"/>
                  <a:gd name="connsiteX5" fmla="*/ 1103361 w 1103361"/>
                  <a:gd name="connsiteY5" fmla="*/ 551681 h 551681"/>
                  <a:gd name="connsiteX0" fmla="*/ 1 w 941778"/>
                  <a:gd name="connsiteY0" fmla="*/ 551680 h 551680"/>
                  <a:gd name="connsiteX1" fmla="*/ 0 w 941778"/>
                  <a:gd name="connsiteY1" fmla="*/ 551680 h 551680"/>
                  <a:gd name="connsiteX2" fmla="*/ 161584 w 941778"/>
                  <a:gd name="connsiteY2" fmla="*/ 161583 h 551680"/>
                  <a:gd name="connsiteX3" fmla="*/ 551681 w 941778"/>
                  <a:gd name="connsiteY3" fmla="*/ 0 h 551680"/>
                  <a:gd name="connsiteX4" fmla="*/ 941778 w 941778"/>
                  <a:gd name="connsiteY4" fmla="*/ 161584 h 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41778" h="551680">
                    <a:moveTo>
                      <a:pt x="1" y="551680"/>
                    </a:moveTo>
                    <a:lnTo>
                      <a:pt x="0" y="551680"/>
                    </a:lnTo>
                    <a:cubicBezTo>
                      <a:pt x="0" y="405365"/>
                      <a:pt x="58124" y="265043"/>
                      <a:pt x="161584" y="161583"/>
                    </a:cubicBezTo>
                    <a:cubicBezTo>
                      <a:pt x="265044" y="58123"/>
                      <a:pt x="405366" y="0"/>
                      <a:pt x="551681" y="0"/>
                    </a:cubicBezTo>
                    <a:cubicBezTo>
                      <a:pt x="697996" y="0"/>
                      <a:pt x="838318" y="58124"/>
                      <a:pt x="941778" y="161584"/>
                    </a:cubicBezTo>
                  </a:path>
                </a:pathLst>
              </a:custGeom>
              <a:noFill/>
              <a:ln w="57150">
                <a:solidFill>
                  <a:srgbClr val="FB3162"/>
                </a:solidFill>
              </a:ln>
              <a:effectLst/>
            </p:spPr>
            <p:style>
              <a:lnRef idx="0">
                <a:schemeClr val="accent3"/>
              </a:lnRef>
              <a:fillRef idx="1001">
                <a:schemeClr val="lt1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l-PL" sz="3200" b="1" dirty="0">
                  <a:ln w="10160">
                    <a:noFill/>
                    <a:prstDash val="solid"/>
                  </a:ln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6" name="Dowolny kształt 35"/>
              <p:cNvSpPr/>
              <p:nvPr/>
            </p:nvSpPr>
            <p:spPr>
              <a:xfrm rot="10800000">
                <a:off x="9305560" y="2742512"/>
                <a:ext cx="1001135" cy="586451"/>
              </a:xfrm>
              <a:custGeom>
                <a:avLst/>
                <a:gdLst>
                  <a:gd name="connsiteX0" fmla="*/ 0 w 1103360"/>
                  <a:gd name="connsiteY0" fmla="*/ 551680 h 1103360"/>
                  <a:gd name="connsiteX1" fmla="*/ 161584 w 1103360"/>
                  <a:gd name="connsiteY1" fmla="*/ 161583 h 1103360"/>
                  <a:gd name="connsiteX2" fmla="*/ 551681 w 1103360"/>
                  <a:gd name="connsiteY2" fmla="*/ 0 h 1103360"/>
                  <a:gd name="connsiteX3" fmla="*/ 941778 w 1103360"/>
                  <a:gd name="connsiteY3" fmla="*/ 161584 h 1103360"/>
                  <a:gd name="connsiteX4" fmla="*/ 1103361 w 1103360"/>
                  <a:gd name="connsiteY4" fmla="*/ 551681 h 1103360"/>
                  <a:gd name="connsiteX5" fmla="*/ 941778 w 1103360"/>
                  <a:gd name="connsiteY5" fmla="*/ 941778 h 1103360"/>
                  <a:gd name="connsiteX6" fmla="*/ 551681 w 1103360"/>
                  <a:gd name="connsiteY6" fmla="*/ 1103361 h 1103360"/>
                  <a:gd name="connsiteX7" fmla="*/ 161584 w 1103360"/>
                  <a:gd name="connsiteY7" fmla="*/ 941777 h 1103360"/>
                  <a:gd name="connsiteX8" fmla="*/ 1 w 1103360"/>
                  <a:gd name="connsiteY8" fmla="*/ 551680 h 1103360"/>
                  <a:gd name="connsiteX9" fmla="*/ 0 w 1103360"/>
                  <a:gd name="connsiteY9" fmla="*/ 551680 h 1103360"/>
                  <a:gd name="connsiteX0" fmla="*/ 0 w 1103361"/>
                  <a:gd name="connsiteY0" fmla="*/ 551680 h 1168377"/>
                  <a:gd name="connsiteX1" fmla="*/ 161584 w 1103361"/>
                  <a:gd name="connsiteY1" fmla="*/ 161583 h 1168377"/>
                  <a:gd name="connsiteX2" fmla="*/ 551681 w 1103361"/>
                  <a:gd name="connsiteY2" fmla="*/ 0 h 1168377"/>
                  <a:gd name="connsiteX3" fmla="*/ 941778 w 1103361"/>
                  <a:gd name="connsiteY3" fmla="*/ 161584 h 1168377"/>
                  <a:gd name="connsiteX4" fmla="*/ 1103361 w 1103361"/>
                  <a:gd name="connsiteY4" fmla="*/ 551681 h 1168377"/>
                  <a:gd name="connsiteX5" fmla="*/ 941778 w 1103361"/>
                  <a:gd name="connsiteY5" fmla="*/ 941778 h 1168377"/>
                  <a:gd name="connsiteX6" fmla="*/ 551681 w 1103361"/>
                  <a:gd name="connsiteY6" fmla="*/ 1103361 h 1168377"/>
                  <a:gd name="connsiteX7" fmla="*/ 1 w 1103361"/>
                  <a:gd name="connsiteY7" fmla="*/ 551680 h 1168377"/>
                  <a:gd name="connsiteX8" fmla="*/ 0 w 1103361"/>
                  <a:gd name="connsiteY8" fmla="*/ 551680 h 1168377"/>
                  <a:gd name="connsiteX0" fmla="*/ 1 w 1103361"/>
                  <a:gd name="connsiteY0" fmla="*/ 551680 h 1194801"/>
                  <a:gd name="connsiteX1" fmla="*/ 0 w 1103361"/>
                  <a:gd name="connsiteY1" fmla="*/ 551680 h 1194801"/>
                  <a:gd name="connsiteX2" fmla="*/ 161584 w 1103361"/>
                  <a:gd name="connsiteY2" fmla="*/ 161583 h 1194801"/>
                  <a:gd name="connsiteX3" fmla="*/ 551681 w 1103361"/>
                  <a:gd name="connsiteY3" fmla="*/ 0 h 1194801"/>
                  <a:gd name="connsiteX4" fmla="*/ 941778 w 1103361"/>
                  <a:gd name="connsiteY4" fmla="*/ 161584 h 1194801"/>
                  <a:gd name="connsiteX5" fmla="*/ 1103361 w 1103361"/>
                  <a:gd name="connsiteY5" fmla="*/ 551681 h 1194801"/>
                  <a:gd name="connsiteX6" fmla="*/ 941778 w 1103361"/>
                  <a:gd name="connsiteY6" fmla="*/ 941778 h 1194801"/>
                  <a:gd name="connsiteX7" fmla="*/ 643121 w 1103361"/>
                  <a:gd name="connsiteY7" fmla="*/ 1194801 h 1194801"/>
                  <a:gd name="connsiteX0" fmla="*/ 1 w 1103361"/>
                  <a:gd name="connsiteY0" fmla="*/ 551680 h 941778"/>
                  <a:gd name="connsiteX1" fmla="*/ 0 w 1103361"/>
                  <a:gd name="connsiteY1" fmla="*/ 551680 h 941778"/>
                  <a:gd name="connsiteX2" fmla="*/ 161584 w 1103361"/>
                  <a:gd name="connsiteY2" fmla="*/ 161583 h 941778"/>
                  <a:gd name="connsiteX3" fmla="*/ 551681 w 1103361"/>
                  <a:gd name="connsiteY3" fmla="*/ 0 h 941778"/>
                  <a:gd name="connsiteX4" fmla="*/ 941778 w 1103361"/>
                  <a:gd name="connsiteY4" fmla="*/ 161584 h 941778"/>
                  <a:gd name="connsiteX5" fmla="*/ 1103361 w 1103361"/>
                  <a:gd name="connsiteY5" fmla="*/ 551681 h 941778"/>
                  <a:gd name="connsiteX6" fmla="*/ 941778 w 1103361"/>
                  <a:gd name="connsiteY6" fmla="*/ 941778 h 941778"/>
                  <a:gd name="connsiteX0" fmla="*/ 1 w 1103361"/>
                  <a:gd name="connsiteY0" fmla="*/ 551680 h 551681"/>
                  <a:gd name="connsiteX1" fmla="*/ 0 w 1103361"/>
                  <a:gd name="connsiteY1" fmla="*/ 551680 h 551681"/>
                  <a:gd name="connsiteX2" fmla="*/ 161584 w 1103361"/>
                  <a:gd name="connsiteY2" fmla="*/ 161583 h 551681"/>
                  <a:gd name="connsiteX3" fmla="*/ 551681 w 1103361"/>
                  <a:gd name="connsiteY3" fmla="*/ 0 h 551681"/>
                  <a:gd name="connsiteX4" fmla="*/ 941778 w 1103361"/>
                  <a:gd name="connsiteY4" fmla="*/ 161584 h 551681"/>
                  <a:gd name="connsiteX5" fmla="*/ 1103361 w 1103361"/>
                  <a:gd name="connsiteY5" fmla="*/ 551681 h 551681"/>
                  <a:gd name="connsiteX0" fmla="*/ 1 w 941778"/>
                  <a:gd name="connsiteY0" fmla="*/ 551680 h 551680"/>
                  <a:gd name="connsiteX1" fmla="*/ 0 w 941778"/>
                  <a:gd name="connsiteY1" fmla="*/ 551680 h 551680"/>
                  <a:gd name="connsiteX2" fmla="*/ 161584 w 941778"/>
                  <a:gd name="connsiteY2" fmla="*/ 161583 h 551680"/>
                  <a:gd name="connsiteX3" fmla="*/ 551681 w 941778"/>
                  <a:gd name="connsiteY3" fmla="*/ 0 h 551680"/>
                  <a:gd name="connsiteX4" fmla="*/ 941778 w 941778"/>
                  <a:gd name="connsiteY4" fmla="*/ 161584 h 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41778" h="551680">
                    <a:moveTo>
                      <a:pt x="1" y="551680"/>
                    </a:moveTo>
                    <a:lnTo>
                      <a:pt x="0" y="551680"/>
                    </a:lnTo>
                    <a:cubicBezTo>
                      <a:pt x="0" y="405365"/>
                      <a:pt x="58124" y="265043"/>
                      <a:pt x="161584" y="161583"/>
                    </a:cubicBezTo>
                    <a:cubicBezTo>
                      <a:pt x="265044" y="58123"/>
                      <a:pt x="405366" y="0"/>
                      <a:pt x="551681" y="0"/>
                    </a:cubicBezTo>
                    <a:cubicBezTo>
                      <a:pt x="697996" y="0"/>
                      <a:pt x="838318" y="58124"/>
                      <a:pt x="941778" y="161584"/>
                    </a:cubicBezTo>
                  </a:path>
                </a:pathLst>
              </a:custGeom>
              <a:noFill/>
              <a:ln w="57150">
                <a:solidFill>
                  <a:srgbClr val="FB3162"/>
                </a:solidFill>
              </a:ln>
              <a:effectLst/>
            </p:spPr>
            <p:style>
              <a:lnRef idx="0">
                <a:schemeClr val="accent3"/>
              </a:lnRef>
              <a:fillRef idx="1001">
                <a:schemeClr val="lt1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l-PL" sz="3200" b="1" dirty="0">
                  <a:ln w="10160">
                    <a:noFill/>
                    <a:prstDash val="solid"/>
                  </a:ln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cxnSp>
          <p:nvCxnSpPr>
            <p:cNvPr id="51" name="Łącznik prosty 50"/>
            <p:cNvCxnSpPr/>
            <p:nvPr/>
          </p:nvCxnSpPr>
          <p:spPr>
            <a:xfrm>
              <a:off x="10279504" y="2729828"/>
              <a:ext cx="475745" cy="2754"/>
            </a:xfrm>
            <a:prstGeom prst="line">
              <a:avLst/>
            </a:prstGeom>
            <a:ln w="57150">
              <a:solidFill>
                <a:srgbClr val="FB3162"/>
              </a:solidFill>
              <a:prstDash val="solid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Łącznik prosty 71"/>
            <p:cNvCxnSpPr/>
            <p:nvPr/>
          </p:nvCxnSpPr>
          <p:spPr>
            <a:xfrm>
              <a:off x="8764243" y="2724386"/>
              <a:ext cx="398912" cy="8348"/>
            </a:xfrm>
            <a:prstGeom prst="line">
              <a:avLst/>
            </a:prstGeom>
            <a:ln w="57150">
              <a:solidFill>
                <a:srgbClr val="FB316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8" name="Grupa 77"/>
          <p:cNvGrpSpPr/>
          <p:nvPr/>
        </p:nvGrpSpPr>
        <p:grpSpPr>
          <a:xfrm>
            <a:off x="7133386" y="2493974"/>
            <a:ext cx="1573381" cy="1023866"/>
            <a:chOff x="7064830" y="2119324"/>
            <a:chExt cx="1797816" cy="1169916"/>
          </a:xfrm>
        </p:grpSpPr>
        <p:grpSp>
          <p:nvGrpSpPr>
            <p:cNvPr id="46" name="Grupa 45"/>
            <p:cNvGrpSpPr/>
            <p:nvPr/>
          </p:nvGrpSpPr>
          <p:grpSpPr>
            <a:xfrm>
              <a:off x="7369644" y="2119324"/>
              <a:ext cx="1172904" cy="1169916"/>
              <a:chOff x="7369644" y="2163382"/>
              <a:chExt cx="1172904" cy="1169916"/>
            </a:xfrm>
          </p:grpSpPr>
          <p:sp>
            <p:nvSpPr>
              <p:cNvPr id="10" name="Elipsa 9"/>
              <p:cNvSpPr/>
              <p:nvPr/>
            </p:nvSpPr>
            <p:spPr>
              <a:xfrm>
                <a:off x="7407046" y="2191521"/>
                <a:ext cx="1103360" cy="1103360"/>
              </a:xfrm>
              <a:prstGeom prst="ellipse">
                <a:avLst/>
              </a:prstGeom>
              <a:ln/>
            </p:spPr>
            <p:style>
              <a:lnRef idx="0">
                <a:schemeClr val="accent3"/>
              </a:lnRef>
              <a:fillRef idx="1001">
                <a:schemeClr val="lt1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l-PL" sz="3200" b="1" dirty="0">
                    <a:ln w="10160">
                      <a:noFill/>
                      <a:prstDash val="solid"/>
                    </a:ln>
                    <a:solidFill>
                      <a:srgbClr val="6DCFF6"/>
                    </a:solidFill>
                    <a:latin typeface="Arial" pitchFamily="34" charset="0"/>
                    <a:cs typeface="Arial" pitchFamily="34" charset="0"/>
                  </a:rPr>
                  <a:t>4</a:t>
                </a:r>
              </a:p>
            </p:txBody>
          </p:sp>
          <p:sp>
            <p:nvSpPr>
              <p:cNvPr id="41" name="Dowolny kształt 40"/>
              <p:cNvSpPr/>
              <p:nvPr/>
            </p:nvSpPr>
            <p:spPr>
              <a:xfrm>
                <a:off x="7369644" y="2163382"/>
                <a:ext cx="1001135" cy="586451"/>
              </a:xfrm>
              <a:custGeom>
                <a:avLst/>
                <a:gdLst>
                  <a:gd name="connsiteX0" fmla="*/ 0 w 1103360"/>
                  <a:gd name="connsiteY0" fmla="*/ 551680 h 1103360"/>
                  <a:gd name="connsiteX1" fmla="*/ 161584 w 1103360"/>
                  <a:gd name="connsiteY1" fmla="*/ 161583 h 1103360"/>
                  <a:gd name="connsiteX2" fmla="*/ 551681 w 1103360"/>
                  <a:gd name="connsiteY2" fmla="*/ 0 h 1103360"/>
                  <a:gd name="connsiteX3" fmla="*/ 941778 w 1103360"/>
                  <a:gd name="connsiteY3" fmla="*/ 161584 h 1103360"/>
                  <a:gd name="connsiteX4" fmla="*/ 1103361 w 1103360"/>
                  <a:gd name="connsiteY4" fmla="*/ 551681 h 1103360"/>
                  <a:gd name="connsiteX5" fmla="*/ 941778 w 1103360"/>
                  <a:gd name="connsiteY5" fmla="*/ 941778 h 1103360"/>
                  <a:gd name="connsiteX6" fmla="*/ 551681 w 1103360"/>
                  <a:gd name="connsiteY6" fmla="*/ 1103361 h 1103360"/>
                  <a:gd name="connsiteX7" fmla="*/ 161584 w 1103360"/>
                  <a:gd name="connsiteY7" fmla="*/ 941777 h 1103360"/>
                  <a:gd name="connsiteX8" fmla="*/ 1 w 1103360"/>
                  <a:gd name="connsiteY8" fmla="*/ 551680 h 1103360"/>
                  <a:gd name="connsiteX9" fmla="*/ 0 w 1103360"/>
                  <a:gd name="connsiteY9" fmla="*/ 551680 h 1103360"/>
                  <a:gd name="connsiteX0" fmla="*/ 0 w 1103361"/>
                  <a:gd name="connsiteY0" fmla="*/ 551680 h 1168377"/>
                  <a:gd name="connsiteX1" fmla="*/ 161584 w 1103361"/>
                  <a:gd name="connsiteY1" fmla="*/ 161583 h 1168377"/>
                  <a:gd name="connsiteX2" fmla="*/ 551681 w 1103361"/>
                  <a:gd name="connsiteY2" fmla="*/ 0 h 1168377"/>
                  <a:gd name="connsiteX3" fmla="*/ 941778 w 1103361"/>
                  <a:gd name="connsiteY3" fmla="*/ 161584 h 1168377"/>
                  <a:gd name="connsiteX4" fmla="*/ 1103361 w 1103361"/>
                  <a:gd name="connsiteY4" fmla="*/ 551681 h 1168377"/>
                  <a:gd name="connsiteX5" fmla="*/ 941778 w 1103361"/>
                  <a:gd name="connsiteY5" fmla="*/ 941778 h 1168377"/>
                  <a:gd name="connsiteX6" fmla="*/ 551681 w 1103361"/>
                  <a:gd name="connsiteY6" fmla="*/ 1103361 h 1168377"/>
                  <a:gd name="connsiteX7" fmla="*/ 1 w 1103361"/>
                  <a:gd name="connsiteY7" fmla="*/ 551680 h 1168377"/>
                  <a:gd name="connsiteX8" fmla="*/ 0 w 1103361"/>
                  <a:gd name="connsiteY8" fmla="*/ 551680 h 1168377"/>
                  <a:gd name="connsiteX0" fmla="*/ 1 w 1103361"/>
                  <a:gd name="connsiteY0" fmla="*/ 551680 h 1194801"/>
                  <a:gd name="connsiteX1" fmla="*/ 0 w 1103361"/>
                  <a:gd name="connsiteY1" fmla="*/ 551680 h 1194801"/>
                  <a:gd name="connsiteX2" fmla="*/ 161584 w 1103361"/>
                  <a:gd name="connsiteY2" fmla="*/ 161583 h 1194801"/>
                  <a:gd name="connsiteX3" fmla="*/ 551681 w 1103361"/>
                  <a:gd name="connsiteY3" fmla="*/ 0 h 1194801"/>
                  <a:gd name="connsiteX4" fmla="*/ 941778 w 1103361"/>
                  <a:gd name="connsiteY4" fmla="*/ 161584 h 1194801"/>
                  <a:gd name="connsiteX5" fmla="*/ 1103361 w 1103361"/>
                  <a:gd name="connsiteY5" fmla="*/ 551681 h 1194801"/>
                  <a:gd name="connsiteX6" fmla="*/ 941778 w 1103361"/>
                  <a:gd name="connsiteY6" fmla="*/ 941778 h 1194801"/>
                  <a:gd name="connsiteX7" fmla="*/ 643121 w 1103361"/>
                  <a:gd name="connsiteY7" fmla="*/ 1194801 h 1194801"/>
                  <a:gd name="connsiteX0" fmla="*/ 1 w 1103361"/>
                  <a:gd name="connsiteY0" fmla="*/ 551680 h 941778"/>
                  <a:gd name="connsiteX1" fmla="*/ 0 w 1103361"/>
                  <a:gd name="connsiteY1" fmla="*/ 551680 h 941778"/>
                  <a:gd name="connsiteX2" fmla="*/ 161584 w 1103361"/>
                  <a:gd name="connsiteY2" fmla="*/ 161583 h 941778"/>
                  <a:gd name="connsiteX3" fmla="*/ 551681 w 1103361"/>
                  <a:gd name="connsiteY3" fmla="*/ 0 h 941778"/>
                  <a:gd name="connsiteX4" fmla="*/ 941778 w 1103361"/>
                  <a:gd name="connsiteY4" fmla="*/ 161584 h 941778"/>
                  <a:gd name="connsiteX5" fmla="*/ 1103361 w 1103361"/>
                  <a:gd name="connsiteY5" fmla="*/ 551681 h 941778"/>
                  <a:gd name="connsiteX6" fmla="*/ 941778 w 1103361"/>
                  <a:gd name="connsiteY6" fmla="*/ 941778 h 941778"/>
                  <a:gd name="connsiteX0" fmla="*/ 1 w 1103361"/>
                  <a:gd name="connsiteY0" fmla="*/ 551680 h 551681"/>
                  <a:gd name="connsiteX1" fmla="*/ 0 w 1103361"/>
                  <a:gd name="connsiteY1" fmla="*/ 551680 h 551681"/>
                  <a:gd name="connsiteX2" fmla="*/ 161584 w 1103361"/>
                  <a:gd name="connsiteY2" fmla="*/ 161583 h 551681"/>
                  <a:gd name="connsiteX3" fmla="*/ 551681 w 1103361"/>
                  <a:gd name="connsiteY3" fmla="*/ 0 h 551681"/>
                  <a:gd name="connsiteX4" fmla="*/ 941778 w 1103361"/>
                  <a:gd name="connsiteY4" fmla="*/ 161584 h 551681"/>
                  <a:gd name="connsiteX5" fmla="*/ 1103361 w 1103361"/>
                  <a:gd name="connsiteY5" fmla="*/ 551681 h 551681"/>
                  <a:gd name="connsiteX0" fmla="*/ 1 w 941778"/>
                  <a:gd name="connsiteY0" fmla="*/ 551680 h 551680"/>
                  <a:gd name="connsiteX1" fmla="*/ 0 w 941778"/>
                  <a:gd name="connsiteY1" fmla="*/ 551680 h 551680"/>
                  <a:gd name="connsiteX2" fmla="*/ 161584 w 941778"/>
                  <a:gd name="connsiteY2" fmla="*/ 161583 h 551680"/>
                  <a:gd name="connsiteX3" fmla="*/ 551681 w 941778"/>
                  <a:gd name="connsiteY3" fmla="*/ 0 h 551680"/>
                  <a:gd name="connsiteX4" fmla="*/ 941778 w 941778"/>
                  <a:gd name="connsiteY4" fmla="*/ 161584 h 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41778" h="551680">
                    <a:moveTo>
                      <a:pt x="1" y="551680"/>
                    </a:moveTo>
                    <a:lnTo>
                      <a:pt x="0" y="551680"/>
                    </a:lnTo>
                    <a:cubicBezTo>
                      <a:pt x="0" y="405365"/>
                      <a:pt x="58124" y="265043"/>
                      <a:pt x="161584" y="161583"/>
                    </a:cubicBezTo>
                    <a:cubicBezTo>
                      <a:pt x="265044" y="58123"/>
                      <a:pt x="405366" y="0"/>
                      <a:pt x="551681" y="0"/>
                    </a:cubicBezTo>
                    <a:cubicBezTo>
                      <a:pt x="697996" y="0"/>
                      <a:pt x="838318" y="58124"/>
                      <a:pt x="941778" y="161584"/>
                    </a:cubicBezTo>
                  </a:path>
                </a:pathLst>
              </a:custGeom>
              <a:noFill/>
              <a:ln w="57150">
                <a:solidFill>
                  <a:srgbClr val="6DCFF6"/>
                </a:solidFill>
              </a:ln>
              <a:effectLst/>
            </p:spPr>
            <p:style>
              <a:lnRef idx="0">
                <a:schemeClr val="accent3"/>
              </a:lnRef>
              <a:fillRef idx="1001">
                <a:schemeClr val="lt1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l-PL" sz="3200" b="1" dirty="0">
                  <a:ln w="10160">
                    <a:noFill/>
                    <a:prstDash val="solid"/>
                  </a:ln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42" name="Dowolny kształt 41"/>
              <p:cNvSpPr/>
              <p:nvPr/>
            </p:nvSpPr>
            <p:spPr>
              <a:xfrm rot="10800000">
                <a:off x="7541413" y="2746847"/>
                <a:ext cx="1001135" cy="586451"/>
              </a:xfrm>
              <a:custGeom>
                <a:avLst/>
                <a:gdLst>
                  <a:gd name="connsiteX0" fmla="*/ 0 w 1103360"/>
                  <a:gd name="connsiteY0" fmla="*/ 551680 h 1103360"/>
                  <a:gd name="connsiteX1" fmla="*/ 161584 w 1103360"/>
                  <a:gd name="connsiteY1" fmla="*/ 161583 h 1103360"/>
                  <a:gd name="connsiteX2" fmla="*/ 551681 w 1103360"/>
                  <a:gd name="connsiteY2" fmla="*/ 0 h 1103360"/>
                  <a:gd name="connsiteX3" fmla="*/ 941778 w 1103360"/>
                  <a:gd name="connsiteY3" fmla="*/ 161584 h 1103360"/>
                  <a:gd name="connsiteX4" fmla="*/ 1103361 w 1103360"/>
                  <a:gd name="connsiteY4" fmla="*/ 551681 h 1103360"/>
                  <a:gd name="connsiteX5" fmla="*/ 941778 w 1103360"/>
                  <a:gd name="connsiteY5" fmla="*/ 941778 h 1103360"/>
                  <a:gd name="connsiteX6" fmla="*/ 551681 w 1103360"/>
                  <a:gd name="connsiteY6" fmla="*/ 1103361 h 1103360"/>
                  <a:gd name="connsiteX7" fmla="*/ 161584 w 1103360"/>
                  <a:gd name="connsiteY7" fmla="*/ 941777 h 1103360"/>
                  <a:gd name="connsiteX8" fmla="*/ 1 w 1103360"/>
                  <a:gd name="connsiteY8" fmla="*/ 551680 h 1103360"/>
                  <a:gd name="connsiteX9" fmla="*/ 0 w 1103360"/>
                  <a:gd name="connsiteY9" fmla="*/ 551680 h 1103360"/>
                  <a:gd name="connsiteX0" fmla="*/ 0 w 1103361"/>
                  <a:gd name="connsiteY0" fmla="*/ 551680 h 1168377"/>
                  <a:gd name="connsiteX1" fmla="*/ 161584 w 1103361"/>
                  <a:gd name="connsiteY1" fmla="*/ 161583 h 1168377"/>
                  <a:gd name="connsiteX2" fmla="*/ 551681 w 1103361"/>
                  <a:gd name="connsiteY2" fmla="*/ 0 h 1168377"/>
                  <a:gd name="connsiteX3" fmla="*/ 941778 w 1103361"/>
                  <a:gd name="connsiteY3" fmla="*/ 161584 h 1168377"/>
                  <a:gd name="connsiteX4" fmla="*/ 1103361 w 1103361"/>
                  <a:gd name="connsiteY4" fmla="*/ 551681 h 1168377"/>
                  <a:gd name="connsiteX5" fmla="*/ 941778 w 1103361"/>
                  <a:gd name="connsiteY5" fmla="*/ 941778 h 1168377"/>
                  <a:gd name="connsiteX6" fmla="*/ 551681 w 1103361"/>
                  <a:gd name="connsiteY6" fmla="*/ 1103361 h 1168377"/>
                  <a:gd name="connsiteX7" fmla="*/ 1 w 1103361"/>
                  <a:gd name="connsiteY7" fmla="*/ 551680 h 1168377"/>
                  <a:gd name="connsiteX8" fmla="*/ 0 w 1103361"/>
                  <a:gd name="connsiteY8" fmla="*/ 551680 h 1168377"/>
                  <a:gd name="connsiteX0" fmla="*/ 1 w 1103361"/>
                  <a:gd name="connsiteY0" fmla="*/ 551680 h 1194801"/>
                  <a:gd name="connsiteX1" fmla="*/ 0 w 1103361"/>
                  <a:gd name="connsiteY1" fmla="*/ 551680 h 1194801"/>
                  <a:gd name="connsiteX2" fmla="*/ 161584 w 1103361"/>
                  <a:gd name="connsiteY2" fmla="*/ 161583 h 1194801"/>
                  <a:gd name="connsiteX3" fmla="*/ 551681 w 1103361"/>
                  <a:gd name="connsiteY3" fmla="*/ 0 h 1194801"/>
                  <a:gd name="connsiteX4" fmla="*/ 941778 w 1103361"/>
                  <a:gd name="connsiteY4" fmla="*/ 161584 h 1194801"/>
                  <a:gd name="connsiteX5" fmla="*/ 1103361 w 1103361"/>
                  <a:gd name="connsiteY5" fmla="*/ 551681 h 1194801"/>
                  <a:gd name="connsiteX6" fmla="*/ 941778 w 1103361"/>
                  <a:gd name="connsiteY6" fmla="*/ 941778 h 1194801"/>
                  <a:gd name="connsiteX7" fmla="*/ 643121 w 1103361"/>
                  <a:gd name="connsiteY7" fmla="*/ 1194801 h 1194801"/>
                  <a:gd name="connsiteX0" fmla="*/ 1 w 1103361"/>
                  <a:gd name="connsiteY0" fmla="*/ 551680 h 941778"/>
                  <a:gd name="connsiteX1" fmla="*/ 0 w 1103361"/>
                  <a:gd name="connsiteY1" fmla="*/ 551680 h 941778"/>
                  <a:gd name="connsiteX2" fmla="*/ 161584 w 1103361"/>
                  <a:gd name="connsiteY2" fmla="*/ 161583 h 941778"/>
                  <a:gd name="connsiteX3" fmla="*/ 551681 w 1103361"/>
                  <a:gd name="connsiteY3" fmla="*/ 0 h 941778"/>
                  <a:gd name="connsiteX4" fmla="*/ 941778 w 1103361"/>
                  <a:gd name="connsiteY4" fmla="*/ 161584 h 941778"/>
                  <a:gd name="connsiteX5" fmla="*/ 1103361 w 1103361"/>
                  <a:gd name="connsiteY5" fmla="*/ 551681 h 941778"/>
                  <a:gd name="connsiteX6" fmla="*/ 941778 w 1103361"/>
                  <a:gd name="connsiteY6" fmla="*/ 941778 h 941778"/>
                  <a:gd name="connsiteX0" fmla="*/ 1 w 1103361"/>
                  <a:gd name="connsiteY0" fmla="*/ 551680 h 551681"/>
                  <a:gd name="connsiteX1" fmla="*/ 0 w 1103361"/>
                  <a:gd name="connsiteY1" fmla="*/ 551680 h 551681"/>
                  <a:gd name="connsiteX2" fmla="*/ 161584 w 1103361"/>
                  <a:gd name="connsiteY2" fmla="*/ 161583 h 551681"/>
                  <a:gd name="connsiteX3" fmla="*/ 551681 w 1103361"/>
                  <a:gd name="connsiteY3" fmla="*/ 0 h 551681"/>
                  <a:gd name="connsiteX4" fmla="*/ 941778 w 1103361"/>
                  <a:gd name="connsiteY4" fmla="*/ 161584 h 551681"/>
                  <a:gd name="connsiteX5" fmla="*/ 1103361 w 1103361"/>
                  <a:gd name="connsiteY5" fmla="*/ 551681 h 551681"/>
                  <a:gd name="connsiteX0" fmla="*/ 1 w 941778"/>
                  <a:gd name="connsiteY0" fmla="*/ 551680 h 551680"/>
                  <a:gd name="connsiteX1" fmla="*/ 0 w 941778"/>
                  <a:gd name="connsiteY1" fmla="*/ 551680 h 551680"/>
                  <a:gd name="connsiteX2" fmla="*/ 161584 w 941778"/>
                  <a:gd name="connsiteY2" fmla="*/ 161583 h 551680"/>
                  <a:gd name="connsiteX3" fmla="*/ 551681 w 941778"/>
                  <a:gd name="connsiteY3" fmla="*/ 0 h 551680"/>
                  <a:gd name="connsiteX4" fmla="*/ 941778 w 941778"/>
                  <a:gd name="connsiteY4" fmla="*/ 161584 h 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41778" h="551680">
                    <a:moveTo>
                      <a:pt x="1" y="551680"/>
                    </a:moveTo>
                    <a:lnTo>
                      <a:pt x="0" y="551680"/>
                    </a:lnTo>
                    <a:cubicBezTo>
                      <a:pt x="0" y="405365"/>
                      <a:pt x="58124" y="265043"/>
                      <a:pt x="161584" y="161583"/>
                    </a:cubicBezTo>
                    <a:cubicBezTo>
                      <a:pt x="265044" y="58123"/>
                      <a:pt x="405366" y="0"/>
                      <a:pt x="551681" y="0"/>
                    </a:cubicBezTo>
                    <a:cubicBezTo>
                      <a:pt x="697996" y="0"/>
                      <a:pt x="838318" y="58124"/>
                      <a:pt x="941778" y="161584"/>
                    </a:cubicBezTo>
                  </a:path>
                </a:pathLst>
              </a:custGeom>
              <a:noFill/>
              <a:ln w="57150">
                <a:solidFill>
                  <a:srgbClr val="6DCFF6"/>
                </a:solidFill>
              </a:ln>
              <a:effectLst/>
            </p:spPr>
            <p:style>
              <a:lnRef idx="0">
                <a:schemeClr val="accent3"/>
              </a:lnRef>
              <a:fillRef idx="1001">
                <a:schemeClr val="lt1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l-PL" sz="3200" b="1" dirty="0">
                  <a:ln w="10160">
                    <a:noFill/>
                    <a:prstDash val="solid"/>
                  </a:ln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cxnSp>
          <p:nvCxnSpPr>
            <p:cNvPr id="50" name="Łącznik prosty 49"/>
            <p:cNvCxnSpPr/>
            <p:nvPr/>
          </p:nvCxnSpPr>
          <p:spPr>
            <a:xfrm>
              <a:off x="8515938" y="2729828"/>
              <a:ext cx="346708" cy="8348"/>
            </a:xfrm>
            <a:prstGeom prst="line">
              <a:avLst/>
            </a:prstGeom>
            <a:ln w="57150">
              <a:solidFill>
                <a:srgbClr val="6DCFF6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Łącznik prosty 73"/>
            <p:cNvCxnSpPr/>
            <p:nvPr/>
          </p:nvCxnSpPr>
          <p:spPr>
            <a:xfrm flipV="1">
              <a:off x="7064830" y="2726353"/>
              <a:ext cx="334053" cy="3236"/>
            </a:xfrm>
            <a:prstGeom prst="line">
              <a:avLst/>
            </a:prstGeom>
            <a:ln w="57150">
              <a:solidFill>
                <a:srgbClr val="6DCFF6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2" name="Łącznik prosty 81"/>
          <p:cNvCxnSpPr/>
          <p:nvPr/>
        </p:nvCxnSpPr>
        <p:spPr>
          <a:xfrm rot="16200000" flipH="1">
            <a:off x="2580846" y="3689223"/>
            <a:ext cx="1314450" cy="9525"/>
          </a:xfrm>
          <a:prstGeom prst="line">
            <a:avLst/>
          </a:prstGeom>
          <a:ln w="38100" cap="rnd">
            <a:solidFill>
              <a:srgbClr val="535459"/>
            </a:solidFill>
            <a:round/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Łącznik prosty 83"/>
          <p:cNvCxnSpPr/>
          <p:nvPr/>
        </p:nvCxnSpPr>
        <p:spPr>
          <a:xfrm rot="16200000" flipH="1">
            <a:off x="4441277" y="3703600"/>
            <a:ext cx="1314450" cy="9525"/>
          </a:xfrm>
          <a:prstGeom prst="line">
            <a:avLst/>
          </a:prstGeom>
          <a:ln w="38100" cap="rnd">
            <a:solidFill>
              <a:srgbClr val="A6A7A8"/>
            </a:solidFill>
            <a:round/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Łącznik prosty 84"/>
          <p:cNvCxnSpPr/>
          <p:nvPr/>
        </p:nvCxnSpPr>
        <p:spPr>
          <a:xfrm rot="16200000" flipH="1">
            <a:off x="6379346" y="3700724"/>
            <a:ext cx="1314450" cy="9525"/>
          </a:xfrm>
          <a:prstGeom prst="line">
            <a:avLst/>
          </a:prstGeom>
          <a:ln w="38100" cap="rnd">
            <a:solidFill>
              <a:srgbClr val="D9DF20"/>
            </a:solidFill>
            <a:round/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Łącznik prosty 85"/>
          <p:cNvCxnSpPr/>
          <p:nvPr/>
        </p:nvCxnSpPr>
        <p:spPr>
          <a:xfrm rot="16200000" flipH="1">
            <a:off x="8218256" y="3683471"/>
            <a:ext cx="1314450" cy="9525"/>
          </a:xfrm>
          <a:prstGeom prst="line">
            <a:avLst/>
          </a:prstGeom>
          <a:ln w="38100" cap="rnd">
            <a:solidFill>
              <a:srgbClr val="6DCFF6"/>
            </a:solidFill>
            <a:round/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 Box 15">
            <a:extLst>
              <a:ext uri="{FF2B5EF4-FFF2-40B4-BE49-F238E27FC236}">
                <a16:creationId xmlns:a16="http://schemas.microsoft.com/office/drawing/2014/main" id="{106330B5-0061-446C-9CC2-95FA8D086B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28468" y="3646489"/>
            <a:ext cx="1932317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pl-PL" altLang="en-US" sz="1400" b="1" dirty="0">
                <a:ea typeface="+mj-ea"/>
                <a:cs typeface="Arial" pitchFamily="34" charset="0"/>
              </a:rPr>
              <a:t>Platformy </a:t>
            </a:r>
            <a:br>
              <a:rPr lang="pl-PL" altLang="en-US" sz="1400" b="1" dirty="0">
                <a:ea typeface="+mj-ea"/>
                <a:cs typeface="Arial" pitchFamily="34" charset="0"/>
              </a:rPr>
            </a:br>
            <a:r>
              <a:rPr lang="pl-PL" altLang="en-US" sz="1400" b="1" dirty="0">
                <a:ea typeface="+mj-ea"/>
                <a:cs typeface="Arial" pitchFamily="34" charset="0"/>
              </a:rPr>
              <a:t>robocze</a:t>
            </a:r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pl-PL" altLang="en-US" sz="1400" dirty="0">
                <a:ea typeface="+mj-ea"/>
                <a:cs typeface="Arial" pitchFamily="34" charset="0"/>
              </a:rPr>
              <a:t>Systemowe bariery </a:t>
            </a:r>
            <a:br>
              <a:rPr lang="pl-PL" altLang="en-US" sz="1400" dirty="0">
                <a:ea typeface="+mj-ea"/>
                <a:cs typeface="Arial" pitchFamily="34" charset="0"/>
              </a:rPr>
            </a:br>
            <a:r>
              <a:rPr lang="pl-PL" altLang="en-US" sz="1400" dirty="0">
                <a:ea typeface="+mj-ea"/>
                <a:cs typeface="Arial" pitchFamily="34" charset="0"/>
              </a:rPr>
              <a:t>krawędziowe, </a:t>
            </a:r>
            <a:br>
              <a:rPr lang="pl-PL" altLang="en-US" sz="1400" dirty="0">
                <a:ea typeface="+mj-ea"/>
                <a:cs typeface="Arial" pitchFamily="34" charset="0"/>
              </a:rPr>
            </a:br>
            <a:r>
              <a:rPr lang="pl-PL" altLang="en-US" sz="1400" dirty="0">
                <a:ea typeface="+mj-ea"/>
                <a:cs typeface="Arial" pitchFamily="34" charset="0"/>
              </a:rPr>
              <a:t>rusztowania </a:t>
            </a:r>
            <a:br>
              <a:rPr lang="pl-PL" altLang="en-US" sz="1400" dirty="0">
                <a:ea typeface="+mj-ea"/>
                <a:cs typeface="Arial" pitchFamily="34" charset="0"/>
              </a:rPr>
            </a:br>
            <a:r>
              <a:rPr lang="pl-PL" altLang="en-US" sz="1400" dirty="0">
                <a:ea typeface="+mj-ea"/>
                <a:cs typeface="Arial" pitchFamily="34" charset="0"/>
              </a:rPr>
              <a:t>fasadowe/</a:t>
            </a:r>
            <a:br>
              <a:rPr lang="pl-PL" altLang="en-US" sz="1400" dirty="0">
                <a:ea typeface="+mj-ea"/>
                <a:cs typeface="Arial" pitchFamily="34" charset="0"/>
              </a:rPr>
            </a:br>
            <a:r>
              <a:rPr lang="pl-PL" altLang="en-US" sz="1400" dirty="0">
                <a:ea typeface="+mj-ea"/>
                <a:cs typeface="Arial" pitchFamily="34" charset="0"/>
              </a:rPr>
              <a:t>przejezdne</a:t>
            </a:r>
            <a:r>
              <a:rPr lang="en-GB" altLang="en-US" sz="1400" dirty="0">
                <a:ea typeface="+mj-ea"/>
                <a:cs typeface="Arial" pitchFamily="34" charset="0"/>
              </a:rPr>
              <a:t>, </a:t>
            </a:r>
            <a:br>
              <a:rPr lang="pl-PL" altLang="en-US" sz="1400" dirty="0">
                <a:ea typeface="+mj-ea"/>
                <a:cs typeface="Arial" pitchFamily="34" charset="0"/>
              </a:rPr>
            </a:br>
            <a:r>
              <a:rPr lang="pl-PL" altLang="en-US" sz="1400" dirty="0">
                <a:ea typeface="+mj-ea"/>
                <a:cs typeface="Arial" pitchFamily="34" charset="0"/>
              </a:rPr>
              <a:t>podnośniki </a:t>
            </a:r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pl-PL" altLang="en-US" sz="1400" dirty="0">
                <a:ea typeface="+mj-ea"/>
                <a:cs typeface="Arial" pitchFamily="34" charset="0"/>
              </a:rPr>
              <a:t>koszowe/nożycowe</a:t>
            </a:r>
            <a:endParaRPr lang="en-GB" altLang="en-US" sz="1400" dirty="0">
              <a:ea typeface="+mj-ea"/>
              <a:cs typeface="Arial" pitchFamily="34" charset="0"/>
            </a:endParaRPr>
          </a:p>
        </p:txBody>
      </p:sp>
      <p:sp>
        <p:nvSpPr>
          <p:cNvPr id="90" name="Text Box 15">
            <a:extLst>
              <a:ext uri="{FF2B5EF4-FFF2-40B4-BE49-F238E27FC236}">
                <a16:creationId xmlns:a16="http://schemas.microsoft.com/office/drawing/2014/main" id="{106330B5-0061-446C-9CC2-95FA8D086B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69411" y="3650771"/>
            <a:ext cx="1794295" cy="1884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None/>
            </a:pPr>
            <a:r>
              <a:rPr lang="pl-PL" altLang="en-US" sz="1400" b="1" dirty="0">
                <a:cs typeface="Arial" pitchFamily="34" charset="0"/>
              </a:rPr>
              <a:t>Praca </a:t>
            </a:r>
            <a:br>
              <a:rPr lang="pl-PL" altLang="en-US" sz="1400" b="1" dirty="0">
                <a:cs typeface="Arial" pitchFamily="34" charset="0"/>
              </a:rPr>
            </a:br>
            <a:r>
              <a:rPr lang="pl-PL" altLang="en-US" sz="1400" b="1" dirty="0">
                <a:cs typeface="Arial" pitchFamily="34" charset="0"/>
              </a:rPr>
              <a:t>w ograniczeniu</a:t>
            </a:r>
          </a:p>
          <a:p>
            <a:pPr algn="ctr">
              <a:spcBef>
                <a:spcPct val="0"/>
              </a:spcBef>
              <a:buClrTx/>
              <a:buNone/>
            </a:pPr>
            <a:r>
              <a:rPr lang="pl-PL" altLang="en-US" sz="1400" dirty="0">
                <a:cs typeface="Arial" pitchFamily="34" charset="0"/>
              </a:rPr>
              <a:t>Szelki BHP</a:t>
            </a:r>
            <a:r>
              <a:rPr lang="en-GB" altLang="en-US" sz="1400" dirty="0">
                <a:cs typeface="Arial" pitchFamily="34" charset="0"/>
              </a:rPr>
              <a:t> 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i ograniczonej 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długości lina</a:t>
            </a:r>
            <a:r>
              <a:rPr lang="en-GB" altLang="en-US" sz="1400" dirty="0">
                <a:cs typeface="Arial" pitchFamily="34" charset="0"/>
              </a:rPr>
              <a:t>, 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pozioma lina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kotwicząca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(„linka życia”)</a:t>
            </a:r>
            <a:endParaRPr lang="en-GB" altLang="en-US" sz="1400" dirty="0">
              <a:cs typeface="Arial" pitchFamily="34" charset="0"/>
            </a:endParaRPr>
          </a:p>
        </p:txBody>
      </p:sp>
      <p:sp>
        <p:nvSpPr>
          <p:cNvPr id="93" name="Text Box 15">
            <a:extLst>
              <a:ext uri="{FF2B5EF4-FFF2-40B4-BE49-F238E27FC236}">
                <a16:creationId xmlns:a16="http://schemas.microsoft.com/office/drawing/2014/main" id="{106330B5-0061-446C-9CC2-95FA8D086B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64282" y="2182128"/>
            <a:ext cx="157000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None/>
            </a:pPr>
            <a:r>
              <a:rPr lang="pl-PL" altLang="en-US" sz="1200" dirty="0">
                <a:cs typeface="Arial" pitchFamily="34" charset="0"/>
              </a:rPr>
              <a:t>ZAPOBIEGANIE</a:t>
            </a:r>
            <a:endParaRPr lang="en-GB" altLang="en-US" sz="1200" dirty="0">
              <a:cs typeface="Arial" pitchFamily="34" charset="0"/>
            </a:endParaRPr>
          </a:p>
        </p:txBody>
      </p:sp>
      <p:sp>
        <p:nvSpPr>
          <p:cNvPr id="96" name="Text Box 15">
            <a:extLst>
              <a:ext uri="{FF2B5EF4-FFF2-40B4-BE49-F238E27FC236}">
                <a16:creationId xmlns:a16="http://schemas.microsoft.com/office/drawing/2014/main" id="{106330B5-0061-446C-9CC2-95FA8D086B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39155" y="3646488"/>
            <a:ext cx="1828799" cy="1815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None/>
            </a:pPr>
            <a:r>
              <a:rPr lang="pl-PL" altLang="en-US" sz="1400" b="1" dirty="0">
                <a:cs typeface="Arial" pitchFamily="34" charset="0"/>
              </a:rPr>
              <a:t>Powstrzymanie</a:t>
            </a:r>
          </a:p>
          <a:p>
            <a:pPr algn="ctr">
              <a:spcBef>
                <a:spcPct val="0"/>
              </a:spcBef>
              <a:buClrTx/>
              <a:buNone/>
            </a:pPr>
            <a:r>
              <a:rPr lang="pl-PL" altLang="en-US" sz="1400" b="1" dirty="0">
                <a:cs typeface="Arial" pitchFamily="34" charset="0"/>
              </a:rPr>
              <a:t>spadania</a:t>
            </a:r>
          </a:p>
          <a:p>
            <a:pPr algn="ctr">
              <a:spcBef>
                <a:spcPct val="0"/>
              </a:spcBef>
              <a:buClrTx/>
              <a:buNone/>
            </a:pPr>
            <a:r>
              <a:rPr lang="pl-PL" altLang="en-US" sz="1400" dirty="0">
                <a:cs typeface="Arial" pitchFamily="34" charset="0"/>
              </a:rPr>
              <a:t>Szelki BHP</a:t>
            </a:r>
            <a:r>
              <a:rPr lang="en-GB" altLang="en-US" sz="1400" dirty="0">
                <a:cs typeface="Arial" pitchFamily="34" charset="0"/>
              </a:rPr>
              <a:t> 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 + amortyzator 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 + linka, 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 system 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 samohamowny</a:t>
            </a:r>
            <a:r>
              <a:rPr lang="en-GB" altLang="en-US" sz="1400" dirty="0">
                <a:cs typeface="Arial" pitchFamily="34" charset="0"/>
              </a:rPr>
              <a:t>, 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dostęp linowy</a:t>
            </a:r>
            <a:endParaRPr lang="en-GB" altLang="en-US" sz="1400" dirty="0">
              <a:cs typeface="Arial" pitchFamily="34" charset="0"/>
            </a:endParaRPr>
          </a:p>
        </p:txBody>
      </p:sp>
      <p:sp>
        <p:nvSpPr>
          <p:cNvPr id="98" name="Text Box 15">
            <a:extLst>
              <a:ext uri="{FF2B5EF4-FFF2-40B4-BE49-F238E27FC236}">
                <a16:creationId xmlns:a16="http://schemas.microsoft.com/office/drawing/2014/main" id="{106330B5-0061-446C-9CC2-95FA8D086B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43359" y="3812521"/>
            <a:ext cx="1570006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None/>
            </a:pPr>
            <a:r>
              <a:rPr lang="pl-PL" sz="1400" dirty="0">
                <a:cs typeface="Arial" pitchFamily="34" charset="0"/>
              </a:rPr>
              <a:t>Drabina</a:t>
            </a:r>
            <a:r>
              <a:rPr lang="pl-PL" altLang="en-US" sz="1400" dirty="0">
                <a:cs typeface="Arial" pitchFamily="34" charset="0"/>
              </a:rPr>
              <a:t>,</a:t>
            </a:r>
            <a:r>
              <a:rPr lang="en-GB" altLang="en-US" sz="1400" dirty="0">
                <a:cs typeface="Arial" pitchFamily="34" charset="0"/>
              </a:rPr>
              <a:t> 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p</a:t>
            </a:r>
            <a:r>
              <a:rPr lang="pl-PL" sz="1400" dirty="0">
                <a:cs typeface="Arial" pitchFamily="34" charset="0"/>
              </a:rPr>
              <a:t>odest-taboret,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s</a:t>
            </a:r>
            <a:r>
              <a:rPr lang="pl-PL" sz="1400" dirty="0">
                <a:cs typeface="Arial" pitchFamily="34" charset="0"/>
              </a:rPr>
              <a:t>zczudła</a:t>
            </a:r>
            <a:r>
              <a:rPr lang="en-GB" altLang="en-US" sz="1400" dirty="0">
                <a:cs typeface="Arial" pitchFamily="34" charset="0"/>
              </a:rPr>
              <a:t> </a:t>
            </a:r>
          </a:p>
        </p:txBody>
      </p:sp>
      <p:sp>
        <p:nvSpPr>
          <p:cNvPr id="100" name="Text Box 15">
            <a:extLst>
              <a:ext uri="{FF2B5EF4-FFF2-40B4-BE49-F238E27FC236}">
                <a16:creationId xmlns:a16="http://schemas.microsoft.com/office/drawing/2014/main" id="{106330B5-0061-446C-9CC2-95FA8D086B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19623" y="3812521"/>
            <a:ext cx="1570006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None/>
            </a:pPr>
            <a:r>
              <a:rPr lang="pl-PL" altLang="en-US" sz="1400" dirty="0">
                <a:cs typeface="Arial" pitchFamily="34" charset="0"/>
              </a:rPr>
              <a:t>Siatki BHP,</a:t>
            </a:r>
            <a:r>
              <a:rPr lang="en-GB" altLang="en-US" sz="1400" dirty="0">
                <a:cs typeface="Arial" pitchFamily="34" charset="0"/>
              </a:rPr>
              <a:t> 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poduszki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powietrzne</a:t>
            </a:r>
            <a:r>
              <a:rPr lang="en-GB" altLang="en-US" sz="1400" dirty="0">
                <a:cs typeface="Arial" pitchFamily="34" charset="0"/>
              </a:rPr>
              <a:t> </a:t>
            </a:r>
          </a:p>
        </p:txBody>
      </p:sp>
      <p:sp>
        <p:nvSpPr>
          <p:cNvPr id="101" name="Text Box 15">
            <a:extLst>
              <a:ext uri="{FF2B5EF4-FFF2-40B4-BE49-F238E27FC236}">
                <a16:creationId xmlns:a16="http://schemas.microsoft.com/office/drawing/2014/main" id="{106330B5-0061-446C-9CC2-95FA8D086B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51275" y="2182128"/>
            <a:ext cx="157000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None/>
            </a:pPr>
            <a:r>
              <a:rPr lang="pl-PL" altLang="en-US" sz="1200" dirty="0">
                <a:cs typeface="Arial" pitchFamily="34" charset="0"/>
              </a:rPr>
              <a:t>MINIMALIZOWANIE</a:t>
            </a:r>
            <a:endParaRPr lang="en-GB" altLang="en-US" sz="1200" dirty="0">
              <a:cs typeface="Arial" pitchFamily="34" charset="0"/>
            </a:endParaRPr>
          </a:p>
        </p:txBody>
      </p:sp>
      <p:pic>
        <p:nvPicPr>
          <p:cNvPr id="103" name="Obraz 102" descr="osobiste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99224" y="4481072"/>
            <a:ext cx="211734" cy="350859"/>
          </a:xfrm>
          <a:prstGeom prst="rect">
            <a:avLst/>
          </a:prstGeom>
        </p:spPr>
      </p:pic>
      <p:pic>
        <p:nvPicPr>
          <p:cNvPr id="104" name="Obraz 103" descr="zbiorowe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6486" y="4481072"/>
            <a:ext cx="517990" cy="350859"/>
          </a:xfrm>
          <a:prstGeom prst="rect">
            <a:avLst/>
          </a:prstGeom>
        </p:spPr>
      </p:pic>
      <p:pic>
        <p:nvPicPr>
          <p:cNvPr id="105" name="Obraz 104" descr="zbiorowe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8161" y="4481072"/>
            <a:ext cx="517990" cy="350859"/>
          </a:xfrm>
          <a:prstGeom prst="rect">
            <a:avLst/>
          </a:prstGeom>
        </p:spPr>
      </p:pic>
      <p:pic>
        <p:nvPicPr>
          <p:cNvPr id="106" name="Obraz 105" descr="osobiste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2324" y="4481072"/>
            <a:ext cx="211734" cy="350859"/>
          </a:xfrm>
          <a:prstGeom prst="rect">
            <a:avLst/>
          </a:prstGeom>
        </p:spPr>
      </p:pic>
      <p:sp>
        <p:nvSpPr>
          <p:cNvPr id="107" name="Text Box 15">
            <a:extLst>
              <a:ext uri="{FF2B5EF4-FFF2-40B4-BE49-F238E27FC236}">
                <a16:creationId xmlns:a16="http://schemas.microsoft.com/office/drawing/2014/main" id="{106330B5-0061-446C-9CC2-95FA8D086BA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77353" y="2182128"/>
            <a:ext cx="157000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None/>
            </a:pPr>
            <a:r>
              <a:rPr lang="pl-PL" altLang="en-US" sz="1200" dirty="0">
                <a:cs typeface="Arial" pitchFamily="34" charset="0"/>
              </a:rPr>
              <a:t>OSTATECZNOŚĆ</a:t>
            </a:r>
            <a:endParaRPr lang="en-GB" altLang="en-US" sz="1200" dirty="0">
              <a:cs typeface="Arial" pitchFamily="34" charset="0"/>
            </a:endParaRPr>
          </a:p>
        </p:txBody>
      </p:sp>
      <p:sp>
        <p:nvSpPr>
          <p:cNvPr id="113" name="Text Box 26">
            <a:extLst>
              <a:ext uri="{FF2B5EF4-FFF2-40B4-BE49-F238E27FC236}">
                <a16:creationId xmlns:a16="http://schemas.microsoft.com/office/drawing/2014/main" id="{BE929580-E78E-4251-9B10-EF58312041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7805" y="1486920"/>
            <a:ext cx="1154214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pl-PL" altLang="en-US" sz="1600" u="sng" dirty="0">
                <a:uFill>
                  <a:solidFill>
                    <a:srgbClr val="6DCFF6"/>
                  </a:solidFill>
                </a:uFill>
                <a:ea typeface="+mj-ea"/>
                <a:cs typeface="Arial" pitchFamily="34" charset="0"/>
              </a:rPr>
              <a:t>UNIKAJ</a:t>
            </a:r>
            <a:r>
              <a:rPr lang="pl-PL" altLang="en-US" sz="1600" dirty="0">
                <a:ea typeface="+mj-ea"/>
                <a:cs typeface="Arial" pitchFamily="34" charset="0"/>
              </a:rPr>
              <a:t> → </a:t>
            </a:r>
            <a:r>
              <a:rPr lang="pl-PL" altLang="en-US" sz="1600" u="sng" dirty="0">
                <a:uFill>
                  <a:solidFill>
                    <a:srgbClr val="D9DF20"/>
                  </a:solidFill>
                </a:uFill>
                <a:ea typeface="+mj-ea"/>
                <a:cs typeface="Arial" pitchFamily="34" charset="0"/>
              </a:rPr>
              <a:t>ZAPOBIEGAJ ( Upadki ) </a:t>
            </a:r>
            <a:r>
              <a:rPr lang="pl-PL" altLang="en-US" sz="1600" dirty="0">
                <a:ea typeface="+mj-ea"/>
                <a:cs typeface="Arial" pitchFamily="34" charset="0"/>
              </a:rPr>
              <a:t>→ </a:t>
            </a:r>
            <a:r>
              <a:rPr lang="pl-PL" altLang="en-US" sz="1600" u="sng" dirty="0">
                <a:uFill>
                  <a:solidFill>
                    <a:srgbClr val="FB3162"/>
                  </a:solidFill>
                </a:uFill>
                <a:ea typeface="+mj-ea"/>
                <a:cs typeface="Arial" pitchFamily="34" charset="0"/>
              </a:rPr>
              <a:t>MINIMALIZUJ ( Odległość i Konsekwencje )</a:t>
            </a:r>
            <a:endParaRPr lang="en-GB" altLang="en-US" sz="1600" u="sng" dirty="0">
              <a:solidFill>
                <a:schemeClr val="bg1"/>
              </a:solidFill>
              <a:uFill>
                <a:solidFill>
                  <a:srgbClr val="FB3162"/>
                </a:solidFill>
              </a:uFill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26">
            <a:extLst>
              <a:ext uri="{FF2B5EF4-FFF2-40B4-BE49-F238E27FC236}">
                <a16:creationId xmlns:a16="http://schemas.microsoft.com/office/drawing/2014/main" id="{BE929580-E78E-4251-9B10-EF58312041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7805" y="5507899"/>
            <a:ext cx="1154214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pl-PL" altLang="en-US" sz="1600" dirty="0">
                <a:cs typeface="Arial" pitchFamily="34" charset="0"/>
              </a:rPr>
              <a:t>Zabezpieczenie krawędzi przy pracach na wysokości musi być wykonane w wysokim standardzie</a:t>
            </a:r>
            <a:r>
              <a:rPr lang="en-US" altLang="en-US" sz="1600" dirty="0">
                <a:cs typeface="Arial" pitchFamily="34" charset="0"/>
              </a:rPr>
              <a:t>. </a:t>
            </a:r>
            <a:br>
              <a:rPr lang="pl-PL" altLang="en-US" sz="1600" dirty="0">
                <a:cs typeface="Arial" pitchFamily="34" charset="0"/>
              </a:rPr>
            </a:br>
            <a:r>
              <a:rPr lang="pl-PL" altLang="en-US" sz="1600" dirty="0">
                <a:cs typeface="Arial" pitchFamily="34" charset="0"/>
              </a:rPr>
              <a:t>Na rynku mamy do wyboru wiele rozwiązań systemowych zabezpieczenia krawędzi.</a:t>
            </a:r>
            <a:endParaRPr lang="en-US" altLang="en-US" sz="1600" dirty="0">
              <a:cs typeface="Arial" pitchFamily="34" charset="0"/>
            </a:endParaRPr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FCEE5F28-7955-4F77-9F0D-C2948A5A2C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95714" y="1066620"/>
            <a:ext cx="3600156" cy="1996620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217D5152-C783-4CBC-BBE4-62D5A6A9E0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36676" y="3148490"/>
            <a:ext cx="3074273" cy="2224087"/>
          </a:xfrm>
          <a:prstGeom prst="rect">
            <a:avLst/>
          </a:prstGeom>
        </p:spPr>
      </p:pic>
      <p:pic>
        <p:nvPicPr>
          <p:cNvPr id="13" name="Obraz 12">
            <a:extLst>
              <a:ext uri="{FF2B5EF4-FFF2-40B4-BE49-F238E27FC236}">
                <a16:creationId xmlns:a16="http://schemas.microsoft.com/office/drawing/2014/main" id="{8DEB6AF4-FBB4-4AAC-B4B8-A6EADCBBB57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0870" y="1129100"/>
            <a:ext cx="3600156" cy="4134030"/>
          </a:xfrm>
          <a:prstGeom prst="rect">
            <a:avLst/>
          </a:prstGeom>
        </p:spPr>
      </p:pic>
      <p:pic>
        <p:nvPicPr>
          <p:cNvPr id="14" name="Obraz 13" descr="Obraz zawierający niebo, zewnętrzne&#10;&#10;Opis wygenerowany automatycznie">
            <a:extLst>
              <a:ext uri="{FF2B5EF4-FFF2-40B4-BE49-F238E27FC236}">
                <a16:creationId xmlns:a16="http://schemas.microsoft.com/office/drawing/2014/main" id="{F6F774A9-30E8-499B-8735-C3040865BFC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75196" y="1129100"/>
            <a:ext cx="3840079" cy="4134030"/>
          </a:xfrm>
          <a:prstGeom prst="rect">
            <a:avLst/>
          </a:prstGeom>
        </p:spPr>
      </p:pic>
      <p:sp>
        <p:nvSpPr>
          <p:cNvPr id="8" name="Tytuł 35">
            <a:extLst>
              <a:ext uri="{FF2B5EF4-FFF2-40B4-BE49-F238E27FC236}">
                <a16:creationId xmlns:a16="http://schemas.microsoft.com/office/drawing/2014/main" id="{95DBB62F-B6C4-0E59-B10E-1ED8A46B2325}"/>
              </a:ext>
            </a:extLst>
          </p:cNvPr>
          <p:cNvSpPr txBox="1">
            <a:spLocks/>
          </p:cNvSpPr>
          <p:nvPr/>
        </p:nvSpPr>
        <p:spPr>
          <a:xfrm>
            <a:off x="2028628" y="147367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200" b="1" dirty="0">
                <a:latin typeface="Arial Nova Cond" panose="020B0506020202020204" pitchFamily="34" charset="0"/>
              </a:rPr>
              <a:t>Obowiązkowe użycie systemowych zabezpieczeń krawędziowych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4" descr="Obraz zawierający wewnątrz, budynek, ściana, łazienka&#10;&#10;Opis wygenerowany przy bardzo wysokim poziomie pewności">
            <a:extLst>
              <a:ext uri="{FF2B5EF4-FFF2-40B4-BE49-F238E27FC236}">
                <a16:creationId xmlns:a16="http://schemas.microsoft.com/office/drawing/2014/main" id="{EF1EEEE7-C5E5-4C89-9A3B-129C32133C8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4464343" y="1774096"/>
            <a:ext cx="3530207" cy="2846651"/>
          </a:xfrm>
          <a:prstGeom prst="rect">
            <a:avLst/>
          </a:prstGeom>
        </p:spPr>
      </p:pic>
      <p:pic>
        <p:nvPicPr>
          <p:cNvPr id="6" name="Obraz 5" descr="Obraz zawierający wewnątrz, ściana, podłoże, budynek&#10;&#10;Opis wygenerowany przy bardzo wysokim poziomie pewności">
            <a:extLst>
              <a:ext uri="{FF2B5EF4-FFF2-40B4-BE49-F238E27FC236}">
                <a16:creationId xmlns:a16="http://schemas.microsoft.com/office/drawing/2014/main" id="{214A9ACB-7F73-4E48-BBBB-186AEE0F82C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8238" y="1432318"/>
            <a:ext cx="4437587" cy="3535344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F2FF4AEC-CB7C-4612-8B89-625D4CA170A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91450" y="1432317"/>
            <a:ext cx="4152900" cy="3547355"/>
          </a:xfrm>
          <a:prstGeom prst="rect">
            <a:avLst/>
          </a:prstGeom>
        </p:spPr>
      </p:pic>
      <p:sp>
        <p:nvSpPr>
          <p:cNvPr id="10" name="Text Box 26">
            <a:extLst>
              <a:ext uri="{FF2B5EF4-FFF2-40B4-BE49-F238E27FC236}">
                <a16:creationId xmlns:a16="http://schemas.microsoft.com/office/drawing/2014/main" id="{BE929580-E78E-4251-9B10-EF58312041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7805" y="5261677"/>
            <a:ext cx="1154214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pl-PL" altLang="en-US" sz="1600" dirty="0">
                <a:cs typeface="Arial" pitchFamily="34" charset="0"/>
              </a:rPr>
              <a:t>Planowanie i dobór środków kontroli oparty jest na Ocenie Ryzyka. W kontekście statystyk wypadkowych, </a:t>
            </a:r>
            <a:br>
              <a:rPr lang="pl-PL" altLang="en-US" sz="1600" dirty="0">
                <a:cs typeface="Arial" pitchFamily="34" charset="0"/>
              </a:rPr>
            </a:br>
            <a:r>
              <a:rPr lang="pl-PL" altLang="en-US" sz="1600" dirty="0">
                <a:cs typeface="Arial" pitchFamily="34" charset="0"/>
              </a:rPr>
              <a:t>praca na wysokości jest szczególnie niebezpieczna i należy ją traktować poważnie nawet na małych wysokościach. </a:t>
            </a:r>
            <a:br>
              <a:rPr lang="pl-PL" altLang="en-US" sz="1600" dirty="0">
                <a:cs typeface="Arial" pitchFamily="34" charset="0"/>
              </a:rPr>
            </a:br>
            <a:r>
              <a:rPr lang="pl-PL" altLang="en-US" sz="1600" dirty="0">
                <a:cs typeface="Arial" pitchFamily="34" charset="0"/>
              </a:rPr>
              <a:t>Dlatego rekomendowane jest zastosowanie obarierowania podestu roboczego począwszy od wysokości 0,5m. </a:t>
            </a:r>
            <a:endParaRPr lang="en-US" altLang="en-US" sz="1600" dirty="0">
              <a:cs typeface="Arial" pitchFamily="34" charset="0"/>
            </a:endParaRPr>
          </a:p>
        </p:txBody>
      </p:sp>
      <p:sp>
        <p:nvSpPr>
          <p:cNvPr id="8" name="Tytuł 35">
            <a:extLst>
              <a:ext uri="{FF2B5EF4-FFF2-40B4-BE49-F238E27FC236}">
                <a16:creationId xmlns:a16="http://schemas.microsoft.com/office/drawing/2014/main" id="{77D16DBF-D321-19E9-1517-6B59D1DEE10D}"/>
              </a:ext>
            </a:extLst>
          </p:cNvPr>
          <p:cNvSpPr txBox="1">
            <a:spLocks/>
          </p:cNvSpPr>
          <p:nvPr/>
        </p:nvSpPr>
        <p:spPr>
          <a:xfrm>
            <a:off x="2083980" y="37943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600" b="1" dirty="0">
                <a:latin typeface="Arial Nova Cond" panose="020B0506020202020204" pitchFamily="34" charset="0"/>
              </a:rPr>
              <a:t>Platformy do pracy na małych wysokościach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ole tekstowe 3"/>
          <p:cNvSpPr txBox="1"/>
          <p:nvPr/>
        </p:nvSpPr>
        <p:spPr>
          <a:xfrm>
            <a:off x="266700" y="1943701"/>
            <a:ext cx="6830786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pl-PL" dirty="0">
                <a:latin typeface="Arial" pitchFamily="34" charset="0"/>
                <a:cs typeface="Arial" pitchFamily="34" charset="0"/>
              </a:rPr>
              <a:t>Montaż zgodnie z Instrukcją DTR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pl-PL" dirty="0">
                <a:latin typeface="Arial" pitchFamily="34" charset="0"/>
                <a:cs typeface="Arial" pitchFamily="34" charset="0"/>
              </a:rPr>
              <a:t>Montaż i informacja (karta) na rusztowaniu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pl-PL" dirty="0">
                <a:latin typeface="Arial" pitchFamily="34" charset="0"/>
                <a:cs typeface="Arial" pitchFamily="34" charset="0"/>
              </a:rPr>
              <a:t>Kompletność rusztowań (poręcz górna, poręcz </a:t>
            </a:r>
            <a:br>
              <a:rPr lang="pl-PL" dirty="0">
                <a:latin typeface="Arial" pitchFamily="34" charset="0"/>
                <a:cs typeface="Arial" pitchFamily="34" charset="0"/>
              </a:rPr>
            </a:br>
            <a:r>
              <a:rPr lang="pl-PL" dirty="0">
                <a:latin typeface="Arial" pitchFamily="34" charset="0"/>
                <a:cs typeface="Arial" pitchFamily="34" charset="0"/>
              </a:rPr>
              <a:t>pośrednia, </a:t>
            </a:r>
            <a:r>
              <a:rPr lang="pl-PL" dirty="0" err="1">
                <a:latin typeface="Arial" pitchFamily="34" charset="0"/>
                <a:cs typeface="Arial" pitchFamily="34" charset="0"/>
              </a:rPr>
              <a:t>bortnica</a:t>
            </a:r>
            <a:r>
              <a:rPr lang="pl-PL" dirty="0">
                <a:latin typeface="Arial" pitchFamily="34" charset="0"/>
                <a:cs typeface="Arial" pitchFamily="34" charset="0"/>
              </a:rPr>
              <a:t>)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pl-PL" dirty="0">
                <a:latin typeface="Arial" pitchFamily="34" charset="0"/>
                <a:cs typeface="Arial" pitchFamily="34" charset="0"/>
              </a:rPr>
              <a:t>Blokady na kołach (co najmniej dwa poprzecznie)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pl-PL" dirty="0">
                <a:latin typeface="Arial" pitchFamily="34" charset="0"/>
                <a:cs typeface="Arial" pitchFamily="34" charset="0"/>
              </a:rPr>
              <a:t>Opcjonalnie stosowanie zastrzałów (zwiększenie </a:t>
            </a:r>
            <a:br>
              <a:rPr lang="pl-PL" dirty="0">
                <a:latin typeface="Arial" pitchFamily="34" charset="0"/>
                <a:cs typeface="Arial" pitchFamily="34" charset="0"/>
              </a:rPr>
            </a:br>
            <a:r>
              <a:rPr lang="pl-PL" dirty="0">
                <a:latin typeface="Arial" pitchFamily="34" charset="0"/>
                <a:cs typeface="Arial" pitchFamily="34" charset="0"/>
              </a:rPr>
              <a:t>stateczności rusztowania).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9A63CB6E-9918-459E-B18C-32E1A7D30C4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4838" y="295275"/>
            <a:ext cx="4290562" cy="5885320"/>
          </a:xfrm>
          <a:prstGeom prst="rect">
            <a:avLst/>
          </a:prstGeom>
        </p:spPr>
      </p:pic>
      <p:sp>
        <p:nvSpPr>
          <p:cNvPr id="6" name="Prostokąt 5">
            <a:extLst>
              <a:ext uri="{FF2B5EF4-FFF2-40B4-BE49-F238E27FC236}">
                <a16:creationId xmlns:a16="http://schemas.microsoft.com/office/drawing/2014/main" id="{6C04E833-173E-4233-9D92-491DE0C78E00}"/>
              </a:ext>
            </a:extLst>
          </p:cNvPr>
          <p:cNvSpPr/>
          <p:nvPr/>
        </p:nvSpPr>
        <p:spPr>
          <a:xfrm rot="21358658">
            <a:off x="8740369" y="3545202"/>
            <a:ext cx="364064" cy="370027"/>
          </a:xfrm>
          <a:prstGeom prst="rect">
            <a:avLst/>
          </a:prstGeom>
          <a:solidFill>
            <a:srgbClr val="D9DF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2E0123A1-CCC4-4D3F-A02D-AFE74A2F8C3E}"/>
              </a:ext>
            </a:extLst>
          </p:cNvPr>
          <p:cNvSpPr txBox="1"/>
          <p:nvPr/>
        </p:nvSpPr>
        <p:spPr>
          <a:xfrm>
            <a:off x="5664442" y="787776"/>
            <a:ext cx="2441822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l-PL" sz="1500" u="heavy" dirty="0">
                <a:uFill>
                  <a:solidFill>
                    <a:srgbClr val="FB3162"/>
                  </a:solidFill>
                </a:uFill>
                <a:latin typeface="Arial" pitchFamily="34" charset="0"/>
                <a:cs typeface="Arial" pitchFamily="34" charset="0"/>
              </a:rPr>
              <a:t>Poręcz główna 110/100cm</a:t>
            </a:r>
          </a:p>
        </p:txBody>
      </p:sp>
      <p:sp>
        <p:nvSpPr>
          <p:cNvPr id="8" name="pole tekstowe 7">
            <a:extLst>
              <a:ext uri="{FF2B5EF4-FFF2-40B4-BE49-F238E27FC236}">
                <a16:creationId xmlns:a16="http://schemas.microsoft.com/office/drawing/2014/main" id="{2EB08364-0867-4E7B-AE27-199F4A0E3BAE}"/>
              </a:ext>
            </a:extLst>
          </p:cNvPr>
          <p:cNvSpPr txBox="1"/>
          <p:nvPr/>
        </p:nvSpPr>
        <p:spPr>
          <a:xfrm>
            <a:off x="5510683" y="1450649"/>
            <a:ext cx="2595582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l-PL" sz="1500" u="heavy" dirty="0">
                <a:uFill>
                  <a:solidFill>
                    <a:srgbClr val="FB3162"/>
                  </a:solidFill>
                </a:uFill>
                <a:latin typeface="Arial" pitchFamily="34" charset="0"/>
                <a:cs typeface="Arial" pitchFamily="34" charset="0"/>
              </a:rPr>
              <a:t>Poręcz średnia ½ odległości</a:t>
            </a:r>
          </a:p>
        </p:txBody>
      </p:sp>
      <p:sp>
        <p:nvSpPr>
          <p:cNvPr id="9" name="pole tekstowe 8">
            <a:extLst>
              <a:ext uri="{FF2B5EF4-FFF2-40B4-BE49-F238E27FC236}">
                <a16:creationId xmlns:a16="http://schemas.microsoft.com/office/drawing/2014/main" id="{38ACAF51-5612-4A64-BC9B-BA85461B28AF}"/>
              </a:ext>
            </a:extLst>
          </p:cNvPr>
          <p:cNvSpPr txBox="1"/>
          <p:nvPr/>
        </p:nvSpPr>
        <p:spPr>
          <a:xfrm>
            <a:off x="7214674" y="2029769"/>
            <a:ext cx="89159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l-PL" sz="1500" u="heavy" dirty="0" err="1">
                <a:uFill>
                  <a:solidFill>
                    <a:srgbClr val="FB3162"/>
                  </a:solidFill>
                </a:uFill>
                <a:latin typeface="Arial" pitchFamily="34" charset="0"/>
                <a:cs typeface="Arial" pitchFamily="34" charset="0"/>
              </a:rPr>
              <a:t>Bortnica</a:t>
            </a:r>
            <a:endParaRPr lang="pl-PL" sz="1500" u="heavy" dirty="0">
              <a:uFill>
                <a:solidFill>
                  <a:srgbClr val="FB3162"/>
                </a:solidFill>
              </a:u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pole tekstowe 9">
            <a:extLst>
              <a:ext uri="{FF2B5EF4-FFF2-40B4-BE49-F238E27FC236}">
                <a16:creationId xmlns:a16="http://schemas.microsoft.com/office/drawing/2014/main" id="{D7C6275D-35F9-4AF5-BC02-19AE6F50ED66}"/>
              </a:ext>
            </a:extLst>
          </p:cNvPr>
          <p:cNvSpPr txBox="1"/>
          <p:nvPr/>
        </p:nvSpPr>
        <p:spPr>
          <a:xfrm>
            <a:off x="6665997" y="5111005"/>
            <a:ext cx="869149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l-PL" sz="1500" u="heavy" dirty="0">
                <a:uFill>
                  <a:solidFill>
                    <a:srgbClr val="6DCFF6"/>
                  </a:solidFill>
                </a:uFill>
                <a:latin typeface="Arial" pitchFamily="34" charset="0"/>
                <a:cs typeface="Arial" pitchFamily="34" charset="0"/>
              </a:rPr>
              <a:t>Zastrzał</a:t>
            </a:r>
          </a:p>
        </p:txBody>
      </p:sp>
      <p:sp>
        <p:nvSpPr>
          <p:cNvPr id="11" name="pole tekstowe 10">
            <a:extLst>
              <a:ext uri="{FF2B5EF4-FFF2-40B4-BE49-F238E27FC236}">
                <a16:creationId xmlns:a16="http://schemas.microsoft.com/office/drawing/2014/main" id="{89D8FEA3-573E-413F-B9AA-1F4225A43F30}"/>
              </a:ext>
            </a:extLst>
          </p:cNvPr>
          <p:cNvSpPr txBox="1"/>
          <p:nvPr/>
        </p:nvSpPr>
        <p:spPr>
          <a:xfrm>
            <a:off x="9805437" y="5872818"/>
            <a:ext cx="869149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l-PL" sz="1500" u="heavy" dirty="0">
                <a:uFill>
                  <a:solidFill>
                    <a:srgbClr val="6DCFF6"/>
                  </a:solidFill>
                </a:uFill>
                <a:latin typeface="Arial" pitchFamily="34" charset="0"/>
                <a:cs typeface="Arial" pitchFamily="34" charset="0"/>
              </a:rPr>
              <a:t>Zastrzał</a:t>
            </a:r>
          </a:p>
        </p:txBody>
      </p:sp>
      <p:sp>
        <p:nvSpPr>
          <p:cNvPr id="12" name="pole tekstowe 11">
            <a:extLst>
              <a:ext uri="{FF2B5EF4-FFF2-40B4-BE49-F238E27FC236}">
                <a16:creationId xmlns:a16="http://schemas.microsoft.com/office/drawing/2014/main" id="{CEEE07AC-B28B-427C-A4B8-FF2D2D8057D9}"/>
              </a:ext>
            </a:extLst>
          </p:cNvPr>
          <p:cNvSpPr txBox="1"/>
          <p:nvPr/>
        </p:nvSpPr>
        <p:spPr>
          <a:xfrm>
            <a:off x="6616694" y="3416498"/>
            <a:ext cx="1289135" cy="7848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l-PL" sz="1500" u="heavy" dirty="0">
                <a:uFill>
                  <a:solidFill>
                    <a:srgbClr val="D9DF20"/>
                  </a:solidFill>
                </a:uFill>
                <a:latin typeface="Arial" pitchFamily="34" charset="0"/>
                <a:cs typeface="Arial" pitchFamily="34" charset="0"/>
              </a:rPr>
              <a:t>Karta</a:t>
            </a:r>
          </a:p>
          <a:p>
            <a:pPr algn="r"/>
            <a:r>
              <a:rPr lang="pl-PL" sz="1500" u="heavy" dirty="0">
                <a:uFill>
                  <a:solidFill>
                    <a:srgbClr val="D9DF20"/>
                  </a:solidFill>
                </a:uFill>
                <a:latin typeface="Arial" pitchFamily="34" charset="0"/>
                <a:cs typeface="Arial" pitchFamily="34" charset="0"/>
              </a:rPr>
              <a:t>Rusztowania</a:t>
            </a:r>
          </a:p>
          <a:p>
            <a:pPr algn="r"/>
            <a:r>
              <a:rPr lang="pl-PL" sz="1500" u="heavy" dirty="0">
                <a:uFill>
                  <a:solidFill>
                    <a:srgbClr val="D9DF20"/>
                  </a:solidFill>
                </a:uFill>
                <a:latin typeface="Arial" pitchFamily="34" charset="0"/>
                <a:cs typeface="Arial" pitchFamily="34" charset="0"/>
              </a:rPr>
              <a:t>(</a:t>
            </a:r>
            <a:r>
              <a:rPr lang="pl-PL" sz="1500" u="heavy" dirty="0" err="1">
                <a:uFill>
                  <a:solidFill>
                    <a:srgbClr val="D9DF20"/>
                  </a:solidFill>
                </a:uFill>
                <a:latin typeface="Arial" pitchFamily="34" charset="0"/>
                <a:cs typeface="Arial" pitchFamily="34" charset="0"/>
              </a:rPr>
              <a:t>scaff-tag</a:t>
            </a:r>
            <a:r>
              <a:rPr lang="pl-PL" sz="1500" u="heavy" dirty="0">
                <a:uFill>
                  <a:solidFill>
                    <a:srgbClr val="D9DF20"/>
                  </a:solidFill>
                </a:uFill>
                <a:latin typeface="Arial" pitchFamily="34" charset="0"/>
                <a:cs typeface="Arial" pitchFamily="34" charset="0"/>
              </a:rPr>
              <a:t>)</a:t>
            </a:r>
          </a:p>
        </p:txBody>
      </p:sp>
      <p:cxnSp>
        <p:nvCxnSpPr>
          <p:cNvPr id="13" name="Łącznik prosty 12">
            <a:extLst>
              <a:ext uri="{FF2B5EF4-FFF2-40B4-BE49-F238E27FC236}">
                <a16:creationId xmlns:a16="http://schemas.microsoft.com/office/drawing/2014/main" id="{B69285DD-190C-4A59-B003-497B7C5DE91F}"/>
              </a:ext>
            </a:extLst>
          </p:cNvPr>
          <p:cNvCxnSpPr>
            <a:cxnSpLocks/>
          </p:cNvCxnSpPr>
          <p:nvPr/>
        </p:nvCxnSpPr>
        <p:spPr>
          <a:xfrm flipV="1">
            <a:off x="8493968" y="559436"/>
            <a:ext cx="2834432" cy="350519"/>
          </a:xfrm>
          <a:prstGeom prst="line">
            <a:avLst/>
          </a:prstGeom>
          <a:ln w="76200">
            <a:solidFill>
              <a:srgbClr val="FB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Łącznik prosty 13">
            <a:extLst>
              <a:ext uri="{FF2B5EF4-FFF2-40B4-BE49-F238E27FC236}">
                <a16:creationId xmlns:a16="http://schemas.microsoft.com/office/drawing/2014/main" id="{21D1DEA5-E723-45BB-AC1F-25FCBD6B1B9B}"/>
              </a:ext>
            </a:extLst>
          </p:cNvPr>
          <p:cNvCxnSpPr>
            <a:cxnSpLocks/>
          </p:cNvCxnSpPr>
          <p:nvPr/>
        </p:nvCxnSpPr>
        <p:spPr>
          <a:xfrm flipV="1">
            <a:off x="8514805" y="1450649"/>
            <a:ext cx="2813595" cy="222310"/>
          </a:xfrm>
          <a:prstGeom prst="line">
            <a:avLst/>
          </a:prstGeom>
          <a:ln w="76200">
            <a:solidFill>
              <a:srgbClr val="FB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Łącznik prosty 14">
            <a:extLst>
              <a:ext uri="{FF2B5EF4-FFF2-40B4-BE49-F238E27FC236}">
                <a16:creationId xmlns:a16="http://schemas.microsoft.com/office/drawing/2014/main" id="{C6AA7436-DAC1-464F-B4C4-90ACAA1A3A7A}"/>
              </a:ext>
            </a:extLst>
          </p:cNvPr>
          <p:cNvCxnSpPr>
            <a:cxnSpLocks/>
          </p:cNvCxnSpPr>
          <p:nvPr/>
        </p:nvCxnSpPr>
        <p:spPr>
          <a:xfrm flipV="1">
            <a:off x="8514805" y="2077035"/>
            <a:ext cx="2813595" cy="106622"/>
          </a:xfrm>
          <a:prstGeom prst="line">
            <a:avLst/>
          </a:prstGeom>
          <a:ln w="76200">
            <a:solidFill>
              <a:srgbClr val="FB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Łącznik prosty 15">
            <a:extLst>
              <a:ext uri="{FF2B5EF4-FFF2-40B4-BE49-F238E27FC236}">
                <a16:creationId xmlns:a16="http://schemas.microsoft.com/office/drawing/2014/main" id="{53640EC8-DF50-49DE-9F9F-D36FE9DB9C7E}"/>
              </a:ext>
            </a:extLst>
          </p:cNvPr>
          <p:cNvCxnSpPr>
            <a:cxnSpLocks/>
          </p:cNvCxnSpPr>
          <p:nvPr/>
        </p:nvCxnSpPr>
        <p:spPr>
          <a:xfrm>
            <a:off x="11336091" y="1450649"/>
            <a:ext cx="378389" cy="153888"/>
          </a:xfrm>
          <a:prstGeom prst="line">
            <a:avLst/>
          </a:prstGeom>
          <a:ln w="76200">
            <a:solidFill>
              <a:srgbClr val="FB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Łącznik prosty 16">
            <a:extLst>
              <a:ext uri="{FF2B5EF4-FFF2-40B4-BE49-F238E27FC236}">
                <a16:creationId xmlns:a16="http://schemas.microsoft.com/office/drawing/2014/main" id="{1435A841-B98B-41A6-B344-691566F8C772}"/>
              </a:ext>
            </a:extLst>
          </p:cNvPr>
          <p:cNvCxnSpPr>
            <a:cxnSpLocks/>
          </p:cNvCxnSpPr>
          <p:nvPr/>
        </p:nvCxnSpPr>
        <p:spPr>
          <a:xfrm>
            <a:off x="11336091" y="559436"/>
            <a:ext cx="378389" cy="309879"/>
          </a:xfrm>
          <a:prstGeom prst="line">
            <a:avLst/>
          </a:prstGeom>
          <a:ln w="76200">
            <a:solidFill>
              <a:srgbClr val="FB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Łącznik prosty 17">
            <a:extLst>
              <a:ext uri="{FF2B5EF4-FFF2-40B4-BE49-F238E27FC236}">
                <a16:creationId xmlns:a16="http://schemas.microsoft.com/office/drawing/2014/main" id="{9D125492-4119-4CFA-9CD8-8A7086BD2F8A}"/>
              </a:ext>
            </a:extLst>
          </p:cNvPr>
          <p:cNvCxnSpPr>
            <a:cxnSpLocks/>
          </p:cNvCxnSpPr>
          <p:nvPr/>
        </p:nvCxnSpPr>
        <p:spPr>
          <a:xfrm>
            <a:off x="11336091" y="2075955"/>
            <a:ext cx="378389" cy="107702"/>
          </a:xfrm>
          <a:prstGeom prst="line">
            <a:avLst/>
          </a:prstGeom>
          <a:ln w="76200">
            <a:solidFill>
              <a:srgbClr val="FB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Łącznik prosty 18">
            <a:extLst>
              <a:ext uri="{FF2B5EF4-FFF2-40B4-BE49-F238E27FC236}">
                <a16:creationId xmlns:a16="http://schemas.microsoft.com/office/drawing/2014/main" id="{B28DD832-B434-4A91-AD7A-7BCB99026D35}"/>
              </a:ext>
            </a:extLst>
          </p:cNvPr>
          <p:cNvCxnSpPr>
            <a:cxnSpLocks/>
          </p:cNvCxnSpPr>
          <p:nvPr/>
        </p:nvCxnSpPr>
        <p:spPr>
          <a:xfrm flipV="1">
            <a:off x="9032240" y="1604537"/>
            <a:ext cx="2682240" cy="124554"/>
          </a:xfrm>
          <a:prstGeom prst="line">
            <a:avLst/>
          </a:prstGeom>
          <a:ln w="76200">
            <a:solidFill>
              <a:srgbClr val="FB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Łącznik prosty 19">
            <a:extLst>
              <a:ext uri="{FF2B5EF4-FFF2-40B4-BE49-F238E27FC236}">
                <a16:creationId xmlns:a16="http://schemas.microsoft.com/office/drawing/2014/main" id="{39B46EF6-CDF4-43AE-9022-7AD5D0848B40}"/>
              </a:ext>
            </a:extLst>
          </p:cNvPr>
          <p:cNvCxnSpPr>
            <a:cxnSpLocks/>
          </p:cNvCxnSpPr>
          <p:nvPr/>
        </p:nvCxnSpPr>
        <p:spPr>
          <a:xfrm flipV="1">
            <a:off x="9032240" y="828124"/>
            <a:ext cx="2682240" cy="235719"/>
          </a:xfrm>
          <a:prstGeom prst="line">
            <a:avLst/>
          </a:prstGeom>
          <a:ln w="76200">
            <a:solidFill>
              <a:srgbClr val="FB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Łącznik prosty 20">
            <a:extLst>
              <a:ext uri="{FF2B5EF4-FFF2-40B4-BE49-F238E27FC236}">
                <a16:creationId xmlns:a16="http://schemas.microsoft.com/office/drawing/2014/main" id="{B537DCA7-C692-4AE1-878C-8CCBCBF56155}"/>
              </a:ext>
            </a:extLst>
          </p:cNvPr>
          <p:cNvCxnSpPr>
            <a:cxnSpLocks/>
          </p:cNvCxnSpPr>
          <p:nvPr/>
        </p:nvCxnSpPr>
        <p:spPr>
          <a:xfrm>
            <a:off x="8534823" y="1655911"/>
            <a:ext cx="532977" cy="73180"/>
          </a:xfrm>
          <a:prstGeom prst="line">
            <a:avLst/>
          </a:prstGeom>
          <a:ln w="76200">
            <a:solidFill>
              <a:srgbClr val="FB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Łącznik prosty 21">
            <a:extLst>
              <a:ext uri="{FF2B5EF4-FFF2-40B4-BE49-F238E27FC236}">
                <a16:creationId xmlns:a16="http://schemas.microsoft.com/office/drawing/2014/main" id="{8356E548-394A-4325-8011-53CFC44392FA}"/>
              </a:ext>
            </a:extLst>
          </p:cNvPr>
          <p:cNvCxnSpPr>
            <a:cxnSpLocks/>
          </p:cNvCxnSpPr>
          <p:nvPr/>
        </p:nvCxnSpPr>
        <p:spPr>
          <a:xfrm>
            <a:off x="8503955" y="893332"/>
            <a:ext cx="563845" cy="182071"/>
          </a:xfrm>
          <a:prstGeom prst="line">
            <a:avLst/>
          </a:prstGeom>
          <a:ln w="76200">
            <a:solidFill>
              <a:srgbClr val="FB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wal 41">
            <a:extLst>
              <a:ext uri="{FF2B5EF4-FFF2-40B4-BE49-F238E27FC236}">
                <a16:creationId xmlns:a16="http://schemas.microsoft.com/office/drawing/2014/main" id="{CB2231C0-04D6-4579-B4FF-CF6F6906A94F}"/>
              </a:ext>
            </a:extLst>
          </p:cNvPr>
          <p:cNvSpPr/>
          <p:nvPr/>
        </p:nvSpPr>
        <p:spPr>
          <a:xfrm>
            <a:off x="8230019" y="4725035"/>
            <a:ext cx="457200" cy="467360"/>
          </a:xfrm>
          <a:prstGeom prst="ellipse">
            <a:avLst/>
          </a:prstGeom>
          <a:noFill/>
          <a:ln w="38100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4" name="Owal 45">
            <a:extLst>
              <a:ext uri="{FF2B5EF4-FFF2-40B4-BE49-F238E27FC236}">
                <a16:creationId xmlns:a16="http://schemas.microsoft.com/office/drawing/2014/main" id="{F3DE2401-A40A-42C2-8B04-AF4962C6D505}"/>
              </a:ext>
            </a:extLst>
          </p:cNvPr>
          <p:cNvSpPr/>
          <p:nvPr/>
        </p:nvSpPr>
        <p:spPr>
          <a:xfrm>
            <a:off x="8801311" y="4491355"/>
            <a:ext cx="457200" cy="467360"/>
          </a:xfrm>
          <a:prstGeom prst="ellipse">
            <a:avLst/>
          </a:prstGeom>
          <a:noFill/>
          <a:ln w="38100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5" name="Owal 46">
            <a:extLst>
              <a:ext uri="{FF2B5EF4-FFF2-40B4-BE49-F238E27FC236}">
                <a16:creationId xmlns:a16="http://schemas.microsoft.com/office/drawing/2014/main" id="{38B2637B-6B79-47B4-B15D-813456189593}"/>
              </a:ext>
            </a:extLst>
          </p:cNvPr>
          <p:cNvSpPr/>
          <p:nvPr/>
        </p:nvSpPr>
        <p:spPr>
          <a:xfrm>
            <a:off x="11065562" y="5184933"/>
            <a:ext cx="457200" cy="467360"/>
          </a:xfrm>
          <a:prstGeom prst="ellipse">
            <a:avLst/>
          </a:prstGeom>
          <a:noFill/>
          <a:ln w="38100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6" name="Owal 47">
            <a:extLst>
              <a:ext uri="{FF2B5EF4-FFF2-40B4-BE49-F238E27FC236}">
                <a16:creationId xmlns:a16="http://schemas.microsoft.com/office/drawing/2014/main" id="{3F24E4DB-E108-4A7E-925B-DB2E93BE2CB2}"/>
              </a:ext>
            </a:extLst>
          </p:cNvPr>
          <p:cNvSpPr/>
          <p:nvPr/>
        </p:nvSpPr>
        <p:spPr>
          <a:xfrm>
            <a:off x="11349456" y="4826699"/>
            <a:ext cx="457200" cy="467360"/>
          </a:xfrm>
          <a:prstGeom prst="ellipse">
            <a:avLst/>
          </a:prstGeom>
          <a:noFill/>
          <a:ln w="38100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27" name="Łącznik prosty 26">
            <a:extLst>
              <a:ext uri="{FF2B5EF4-FFF2-40B4-BE49-F238E27FC236}">
                <a16:creationId xmlns:a16="http://schemas.microsoft.com/office/drawing/2014/main" id="{335E2675-1C1F-44A8-9697-B019E374307A}"/>
              </a:ext>
            </a:extLst>
          </p:cNvPr>
          <p:cNvCxnSpPr>
            <a:cxnSpLocks/>
          </p:cNvCxnSpPr>
          <p:nvPr/>
        </p:nvCxnSpPr>
        <p:spPr>
          <a:xfrm flipV="1">
            <a:off x="7678175" y="2169444"/>
            <a:ext cx="780444" cy="3220178"/>
          </a:xfrm>
          <a:prstGeom prst="line">
            <a:avLst/>
          </a:prstGeom>
          <a:ln w="76200">
            <a:solidFill>
              <a:srgbClr val="6DCF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Łącznik prosty 27">
            <a:extLst>
              <a:ext uri="{FF2B5EF4-FFF2-40B4-BE49-F238E27FC236}">
                <a16:creationId xmlns:a16="http://schemas.microsoft.com/office/drawing/2014/main" id="{122521D5-2CC6-43E3-A2A0-276E6554D605}"/>
              </a:ext>
            </a:extLst>
          </p:cNvPr>
          <p:cNvCxnSpPr>
            <a:cxnSpLocks/>
          </p:cNvCxnSpPr>
          <p:nvPr/>
        </p:nvCxnSpPr>
        <p:spPr>
          <a:xfrm flipV="1">
            <a:off x="10748871" y="2074206"/>
            <a:ext cx="587220" cy="3982980"/>
          </a:xfrm>
          <a:prstGeom prst="line">
            <a:avLst/>
          </a:prstGeom>
          <a:ln w="76200">
            <a:solidFill>
              <a:srgbClr val="6DCF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ytuł 35">
            <a:extLst>
              <a:ext uri="{FF2B5EF4-FFF2-40B4-BE49-F238E27FC236}">
                <a16:creationId xmlns:a16="http://schemas.microsoft.com/office/drawing/2014/main" id="{24D406D4-9621-972B-1D0A-56CC274FC358}"/>
              </a:ext>
            </a:extLst>
          </p:cNvPr>
          <p:cNvSpPr txBox="1">
            <a:spLocks/>
          </p:cNvSpPr>
          <p:nvPr/>
        </p:nvSpPr>
        <p:spPr>
          <a:xfrm>
            <a:off x="2083980" y="37943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b="1" dirty="0">
                <a:latin typeface="Arial Nova Cond" panose="020B0506020202020204" pitchFamily="34" charset="0"/>
              </a:rPr>
              <a:t>Rusztowania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8" grpId="0"/>
      <p:bldP spid="9" grpId="0"/>
      <p:bldP spid="10" grpId="0"/>
      <p:bldP spid="11" grpId="0"/>
      <p:bldP spid="12" grpId="0"/>
      <p:bldP spid="23" grpId="0" animBg="1"/>
      <p:bldP spid="24" grpId="0" animBg="1"/>
      <p:bldP spid="25" grpId="0" animBg="1"/>
      <p:bldP spid="2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>
            <a:extLst>
              <a:ext uri="{FF2B5EF4-FFF2-40B4-BE49-F238E27FC236}">
                <a16:creationId xmlns:a16="http://schemas.microsoft.com/office/drawing/2014/main" id="{6D1AF660-0905-85CC-ACE3-0E733E422DC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57175" y="1180869"/>
            <a:ext cx="6379537" cy="3762606"/>
          </a:xfrm>
          <a:prstGeom prst="rect">
            <a:avLst/>
          </a:prstGeom>
        </p:spPr>
      </p:pic>
      <p:pic>
        <p:nvPicPr>
          <p:cNvPr id="4" name="Picture 2" descr="IMG_1145.JPG">
            <a:extLst>
              <a:ext uri="{FF2B5EF4-FFF2-40B4-BE49-F238E27FC236}">
                <a16:creationId xmlns:a16="http://schemas.microsoft.com/office/drawing/2014/main" id="{D0AD2E7C-8C6E-602D-7C55-378B441868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63465" y="1180869"/>
            <a:ext cx="5161835" cy="3781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26">
            <a:extLst>
              <a:ext uri="{FF2B5EF4-FFF2-40B4-BE49-F238E27FC236}">
                <a16:creationId xmlns:a16="http://schemas.microsoft.com/office/drawing/2014/main" id="{258B0956-2601-2476-362E-E3E061BBE4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7805" y="5015456"/>
            <a:ext cx="11542142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pl-PL" altLang="en-US" sz="1600" dirty="0">
                <a:cs typeface="Arial" pitchFamily="34" charset="0"/>
              </a:rPr>
              <a:t>Użycie systemów ochrony indywidualnej pracy w ograniczeniu ma wyższy priorytet niż użycie systemów powstrzymujących spadanie (np. systemy samohamowne, amortyzatory włókiennicze). Właściwie zamontowany system pracy w ograniczeniu zabezpieczy pracownika przed wypadnięciem przez krawędź (pracownik nie rozpocznie spadania lub będzie natychmiast zatrzymany). </a:t>
            </a:r>
            <a:endParaRPr lang="en-US" altLang="en-US" sz="1600" dirty="0">
              <a:highlight>
                <a:srgbClr val="FFFF00"/>
              </a:highlight>
              <a:cs typeface="Arial" pitchFamily="34" charset="0"/>
            </a:endParaRPr>
          </a:p>
        </p:txBody>
      </p:sp>
      <p:sp>
        <p:nvSpPr>
          <p:cNvPr id="6" name="Tytuł 35">
            <a:extLst>
              <a:ext uri="{FF2B5EF4-FFF2-40B4-BE49-F238E27FC236}">
                <a16:creationId xmlns:a16="http://schemas.microsoft.com/office/drawing/2014/main" id="{22DACBD7-49AD-2438-9EE7-1FBB95DDE6EF}"/>
              </a:ext>
            </a:extLst>
          </p:cNvPr>
          <p:cNvSpPr txBox="1">
            <a:spLocks/>
          </p:cNvSpPr>
          <p:nvPr/>
        </p:nvSpPr>
        <p:spPr>
          <a:xfrm>
            <a:off x="2083981" y="144269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800" b="1" dirty="0">
                <a:latin typeface="Arial Nova Cond" panose="020B0506020202020204" pitchFamily="34" charset="0"/>
              </a:rPr>
              <a:t>Prace przy krawędzi</a:t>
            </a:r>
          </a:p>
          <a:p>
            <a:r>
              <a:rPr lang="pl-PL" sz="2800" b="1" dirty="0">
                <a:latin typeface="Arial Nova Cond" panose="020B0506020202020204" pitchFamily="34" charset="0"/>
              </a:rPr>
              <a:t>Poziome systemy kotwiczące (lina życia)</a:t>
            </a:r>
          </a:p>
        </p:txBody>
      </p:sp>
    </p:spTree>
    <p:extLst>
      <p:ext uri="{BB962C8B-B14F-4D97-AF65-F5344CB8AC3E}">
        <p14:creationId xmlns:p14="http://schemas.microsoft.com/office/powerpoint/2010/main" val="21935763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26">
            <a:extLst>
              <a:ext uri="{FF2B5EF4-FFF2-40B4-BE49-F238E27FC236}">
                <a16:creationId xmlns:a16="http://schemas.microsoft.com/office/drawing/2014/main" id="{BE929580-E78E-4251-9B10-EF58312041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7805" y="5261677"/>
            <a:ext cx="1154214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altLang="en-US" sz="1600" dirty="0" err="1">
                <a:cs typeface="Arial" pitchFamily="34" charset="0"/>
              </a:rPr>
              <a:t>Należy</a:t>
            </a:r>
            <a:r>
              <a:rPr lang="en-US" altLang="en-US" sz="1600" dirty="0">
                <a:cs typeface="Arial" pitchFamily="34" charset="0"/>
              </a:rPr>
              <a:t> </a:t>
            </a:r>
            <a:r>
              <a:rPr lang="en-US" altLang="en-US" sz="1600" dirty="0" err="1">
                <a:cs typeface="Arial" pitchFamily="34" charset="0"/>
              </a:rPr>
              <a:t>zwrócić</a:t>
            </a:r>
            <a:r>
              <a:rPr lang="en-US" altLang="en-US" sz="1600" dirty="0">
                <a:cs typeface="Arial" pitchFamily="34" charset="0"/>
              </a:rPr>
              <a:t> </a:t>
            </a:r>
            <a:r>
              <a:rPr lang="en-US" altLang="en-US" sz="1600" dirty="0" err="1">
                <a:cs typeface="Arial" pitchFamily="34" charset="0"/>
              </a:rPr>
              <a:t>szczególną</a:t>
            </a:r>
            <a:r>
              <a:rPr lang="en-US" altLang="en-US" sz="1600" dirty="0">
                <a:cs typeface="Arial" pitchFamily="34" charset="0"/>
              </a:rPr>
              <a:t> </a:t>
            </a:r>
            <a:r>
              <a:rPr lang="en-US" altLang="en-US" sz="1600" dirty="0" err="1">
                <a:cs typeface="Arial" pitchFamily="34" charset="0"/>
              </a:rPr>
              <a:t>uwagę</a:t>
            </a:r>
            <a:r>
              <a:rPr lang="en-US" altLang="en-US" sz="1600" dirty="0">
                <a:cs typeface="Arial" pitchFamily="34" charset="0"/>
              </a:rPr>
              <a:t> </a:t>
            </a:r>
            <a:r>
              <a:rPr lang="en-US" altLang="en-US" sz="1600" dirty="0" err="1">
                <a:cs typeface="Arial" pitchFamily="34" charset="0"/>
              </a:rPr>
              <a:t>na</a:t>
            </a:r>
            <a:r>
              <a:rPr lang="en-US" altLang="en-US" sz="1600" dirty="0">
                <a:cs typeface="Arial" pitchFamily="34" charset="0"/>
              </a:rPr>
              <a:t> </a:t>
            </a:r>
            <a:r>
              <a:rPr lang="pl-PL" altLang="en-US" sz="1600" dirty="0">
                <a:cs typeface="Arial" pitchFamily="34" charset="0"/>
              </a:rPr>
              <a:t>„</a:t>
            </a:r>
            <a:r>
              <a:rPr lang="en-US" altLang="en-US" sz="1600" dirty="0" err="1">
                <a:cs typeface="Arial" pitchFamily="34" charset="0"/>
              </a:rPr>
              <a:t>efekt</a:t>
            </a:r>
            <a:r>
              <a:rPr lang="en-US" altLang="en-US" sz="1600" dirty="0">
                <a:cs typeface="Arial" pitchFamily="34" charset="0"/>
              </a:rPr>
              <a:t> </a:t>
            </a:r>
            <a:r>
              <a:rPr lang="en-US" altLang="en-US" sz="1600" dirty="0" err="1">
                <a:cs typeface="Arial" pitchFamily="34" charset="0"/>
              </a:rPr>
              <a:t>wahadła</a:t>
            </a:r>
            <a:r>
              <a:rPr lang="pl-PL" altLang="en-US" sz="1600" dirty="0">
                <a:cs typeface="Arial" pitchFamily="34" charset="0"/>
              </a:rPr>
              <a:t>”</a:t>
            </a:r>
            <a:r>
              <a:rPr lang="en-US" altLang="en-US" sz="1600" dirty="0">
                <a:cs typeface="Arial" pitchFamily="34" charset="0"/>
              </a:rPr>
              <a:t>, </a:t>
            </a:r>
            <a:r>
              <a:rPr lang="pl-PL" altLang="en-US" sz="1600" dirty="0">
                <a:cs typeface="Arial" pitchFamily="34" charset="0"/>
              </a:rPr>
              <a:t>aby tego uniknąć należy za plecami pracownika zamontować </a:t>
            </a:r>
            <a:br>
              <a:rPr lang="pl-PL" altLang="en-US" sz="1600" dirty="0">
                <a:cs typeface="Arial" pitchFamily="34" charset="0"/>
              </a:rPr>
            </a:br>
            <a:r>
              <a:rPr lang="pl-PL" altLang="en-US" sz="1600" dirty="0">
                <a:cs typeface="Arial" pitchFamily="34" charset="0"/>
              </a:rPr>
              <a:t>linkę życia do której przypina on szelki bhp + linkę. W ten sposób niezależnie od tego, gdzie znajduje się pracownik punkt kotwiczenia zawsze znajduje się za pracownikiem (kąt prosty pomiędzy linką życia, a linką od szelek).</a:t>
            </a:r>
            <a:endParaRPr lang="en-US" altLang="en-US" sz="1600" dirty="0">
              <a:highlight>
                <a:srgbClr val="FFFF00"/>
              </a:highlight>
              <a:cs typeface="Arial" pitchFamily="34" charset="0"/>
            </a:endParaRPr>
          </a:p>
        </p:txBody>
      </p:sp>
      <p:pic>
        <p:nvPicPr>
          <p:cNvPr id="7" name="Picture 14" descr="retractable Pendulum 1.jpg">
            <a:extLst>
              <a:ext uri="{FF2B5EF4-FFF2-40B4-BE49-F238E27FC236}">
                <a16:creationId xmlns:a16="http://schemas.microsoft.com/office/drawing/2014/main" id="{5D90986D-23B7-4542-BC4E-B984BFC1107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93184" y="1685925"/>
            <a:ext cx="1982775" cy="312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Obraz 7" descr="Obraz zawierający obiekt&#10;&#10;Opis wygenerowany przy bardzo wysokim poziomie pewności">
            <a:extLst>
              <a:ext uri="{FF2B5EF4-FFF2-40B4-BE49-F238E27FC236}">
                <a16:creationId xmlns:a16="http://schemas.microsoft.com/office/drawing/2014/main" id="{02612E72-348D-4BCD-9F81-3642966743E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6359" y="1974586"/>
            <a:ext cx="4509892" cy="1293797"/>
          </a:xfrm>
          <a:prstGeom prst="rect">
            <a:avLst/>
          </a:prstGeom>
        </p:spPr>
      </p:pic>
      <p:pic>
        <p:nvPicPr>
          <p:cNvPr id="13" name="Obraz 12">
            <a:extLst>
              <a:ext uri="{FF2B5EF4-FFF2-40B4-BE49-F238E27FC236}">
                <a16:creationId xmlns:a16="http://schemas.microsoft.com/office/drawing/2014/main" id="{05A523F4-4FD9-4391-9CB3-EAEEDBFB5C0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4960" y="1628751"/>
            <a:ext cx="3650458" cy="3220375"/>
          </a:xfrm>
          <a:prstGeom prst="rect">
            <a:avLst/>
          </a:prstGeom>
        </p:spPr>
      </p:pic>
      <p:pic>
        <p:nvPicPr>
          <p:cNvPr id="14" name="Obraz 13">
            <a:extLst>
              <a:ext uri="{FF2B5EF4-FFF2-40B4-BE49-F238E27FC236}">
                <a16:creationId xmlns:a16="http://schemas.microsoft.com/office/drawing/2014/main" id="{A693B658-EA82-4F88-8D99-D91381C8890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5213" y="3256352"/>
            <a:ext cx="1552586" cy="1881572"/>
          </a:xfrm>
          <a:prstGeom prst="rect">
            <a:avLst/>
          </a:prstGeom>
        </p:spPr>
      </p:pic>
      <p:sp>
        <p:nvSpPr>
          <p:cNvPr id="15" name="pole tekstowe 14">
            <a:extLst>
              <a:ext uri="{FF2B5EF4-FFF2-40B4-BE49-F238E27FC236}">
                <a16:creationId xmlns:a16="http://schemas.microsoft.com/office/drawing/2014/main" id="{F8EB6E0B-F6A6-4FD5-A8DB-A437CFF6479C}"/>
              </a:ext>
            </a:extLst>
          </p:cNvPr>
          <p:cNvSpPr txBox="1"/>
          <p:nvPr/>
        </p:nvSpPr>
        <p:spPr>
          <a:xfrm>
            <a:off x="2877585" y="1357885"/>
            <a:ext cx="231852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600" dirty="0">
                <a:latin typeface="Arial" panose="020B0604020202020204" pitchFamily="34" charset="0"/>
                <a:cs typeface="Arial" panose="020B0604020202020204" pitchFamily="34" charset="0"/>
              </a:rPr>
              <a:t>Praca</a:t>
            </a:r>
          </a:p>
          <a:p>
            <a:pPr algn="ctr"/>
            <a:r>
              <a:rPr lang="pl-PL" sz="1600" dirty="0">
                <a:latin typeface="Arial" panose="020B0604020202020204" pitchFamily="34" charset="0"/>
                <a:cs typeface="Arial" panose="020B0604020202020204" pitchFamily="34" charset="0"/>
              </a:rPr>
              <a:t>w ograniczeniu</a:t>
            </a:r>
          </a:p>
        </p:txBody>
      </p:sp>
      <p:sp>
        <p:nvSpPr>
          <p:cNvPr id="16" name="pole tekstowe 15">
            <a:extLst>
              <a:ext uri="{FF2B5EF4-FFF2-40B4-BE49-F238E27FC236}">
                <a16:creationId xmlns:a16="http://schemas.microsoft.com/office/drawing/2014/main" id="{DD4474C1-C394-4538-B9CD-03D8C81BF93C}"/>
              </a:ext>
            </a:extLst>
          </p:cNvPr>
          <p:cNvSpPr txBox="1"/>
          <p:nvPr/>
        </p:nvSpPr>
        <p:spPr>
          <a:xfrm>
            <a:off x="446815" y="1357885"/>
            <a:ext cx="190805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600" dirty="0">
                <a:latin typeface="Arial" panose="020B0604020202020204" pitchFamily="34" charset="0"/>
                <a:cs typeface="Arial" panose="020B0604020202020204" pitchFamily="34" charset="0"/>
              </a:rPr>
              <a:t>Powstrzymanie spadania</a:t>
            </a:r>
          </a:p>
        </p:txBody>
      </p:sp>
      <p:sp>
        <p:nvSpPr>
          <p:cNvPr id="17" name="pole tekstowe 16">
            <a:extLst>
              <a:ext uri="{FF2B5EF4-FFF2-40B4-BE49-F238E27FC236}">
                <a16:creationId xmlns:a16="http://schemas.microsoft.com/office/drawing/2014/main" id="{B6DA3E99-34CA-4E84-8E53-057A2826BDFC}"/>
              </a:ext>
            </a:extLst>
          </p:cNvPr>
          <p:cNvSpPr txBox="1"/>
          <p:nvPr/>
        </p:nvSpPr>
        <p:spPr>
          <a:xfrm>
            <a:off x="7946164" y="1577627"/>
            <a:ext cx="2569435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pl-PL" sz="1600" dirty="0">
                <a:latin typeface="Arial" panose="020B0604020202020204" pitchFamily="34" charset="0"/>
                <a:cs typeface="Arial" panose="020B0604020202020204" pitchFamily="34" charset="0"/>
              </a:rPr>
              <a:t>Efekt wahadła</a:t>
            </a:r>
          </a:p>
        </p:txBody>
      </p:sp>
      <p:pic>
        <p:nvPicPr>
          <p:cNvPr id="18" name="Obraz 17" descr="Obraz zawierający niebo, zewnętrzne, mężczyzna, woda&#10;&#10;Opis wygenerowany przy bardzo wysokim poziomie pewności">
            <a:extLst>
              <a:ext uri="{FF2B5EF4-FFF2-40B4-BE49-F238E27FC236}">
                <a16:creationId xmlns:a16="http://schemas.microsoft.com/office/drawing/2014/main" id="{D4870C48-3539-49C3-9D2F-062A6FE4122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66671" y="3265399"/>
            <a:ext cx="2113769" cy="1652624"/>
          </a:xfrm>
          <a:prstGeom prst="rect">
            <a:avLst/>
          </a:prstGeom>
        </p:spPr>
      </p:pic>
      <p:pic>
        <p:nvPicPr>
          <p:cNvPr id="19" name="Obraz 18" descr="good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4402" y="2733677"/>
            <a:ext cx="742948" cy="742948"/>
          </a:xfrm>
          <a:prstGeom prst="rect">
            <a:avLst/>
          </a:prstGeom>
        </p:spPr>
      </p:pic>
      <p:pic>
        <p:nvPicPr>
          <p:cNvPr id="20" name="Obraz 19" descr="good.png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72802" y="3990976"/>
            <a:ext cx="742948" cy="742948"/>
          </a:xfrm>
          <a:prstGeom prst="rect">
            <a:avLst/>
          </a:prstGeom>
        </p:spPr>
      </p:pic>
      <p:pic>
        <p:nvPicPr>
          <p:cNvPr id="21" name="Obraz 20" descr="good.png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2327" y="3990976"/>
            <a:ext cx="742948" cy="742948"/>
          </a:xfrm>
          <a:prstGeom prst="rect">
            <a:avLst/>
          </a:prstGeom>
        </p:spPr>
      </p:pic>
      <p:pic>
        <p:nvPicPr>
          <p:cNvPr id="22" name="Obraz 21" descr="good.png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6452" y="2733677"/>
            <a:ext cx="742948" cy="742948"/>
          </a:xfrm>
          <a:prstGeom prst="rect">
            <a:avLst/>
          </a:prstGeom>
        </p:spPr>
      </p:pic>
      <p:sp>
        <p:nvSpPr>
          <p:cNvPr id="5" name="Tytuł 35">
            <a:extLst>
              <a:ext uri="{FF2B5EF4-FFF2-40B4-BE49-F238E27FC236}">
                <a16:creationId xmlns:a16="http://schemas.microsoft.com/office/drawing/2014/main" id="{6C9E5C61-D6BB-B866-4E20-6F1A5F4BEE96}"/>
              </a:ext>
            </a:extLst>
          </p:cNvPr>
          <p:cNvSpPr txBox="1">
            <a:spLocks/>
          </p:cNvSpPr>
          <p:nvPr/>
        </p:nvSpPr>
        <p:spPr>
          <a:xfrm>
            <a:off x="2083980" y="101741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200" b="1" dirty="0">
                <a:latin typeface="Arial Nova Cond" panose="020B0506020202020204" pitchFamily="34" charset="0"/>
              </a:rPr>
              <a:t>Zasady bezpiecznej pracy</a:t>
            </a:r>
          </a:p>
          <a:p>
            <a:r>
              <a:rPr lang="pl-PL" sz="3200" b="1" dirty="0">
                <a:latin typeface="Arial Nova Cond" panose="020B0506020202020204" pitchFamily="34" charset="0"/>
              </a:rPr>
              <a:t>Praca w ograniczeniu / System samohamowny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6">
            <a:extLst>
              <a:ext uri="{FF2B5EF4-FFF2-40B4-BE49-F238E27FC236}">
                <a16:creationId xmlns:a16="http://schemas.microsoft.com/office/drawing/2014/main" id="{BE929580-E78E-4251-9B10-EF58312041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7805" y="5261677"/>
            <a:ext cx="1154214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pl-PL" altLang="en-US" sz="1600" dirty="0">
                <a:cs typeface="Arial" pitchFamily="34" charset="0"/>
              </a:rPr>
              <a:t>Punkty kotwiczenia powinny być zamocowane do głównej konstrukcji budynku i przetestowane na wyrywanie </a:t>
            </a:r>
            <a:br>
              <a:rPr lang="pl-PL" altLang="en-US" sz="1600" dirty="0">
                <a:cs typeface="Arial" pitchFamily="34" charset="0"/>
              </a:rPr>
            </a:br>
            <a:r>
              <a:rPr lang="pl-PL" altLang="en-US" sz="1600" dirty="0">
                <a:cs typeface="Arial" pitchFamily="34" charset="0"/>
              </a:rPr>
              <a:t>oraz odpowiedniej nośności. Punkty kotwiczenia najlepiej jak znajdują się ponad głowami pracowników. Jeżeli nie jest </a:t>
            </a:r>
            <a:br>
              <a:rPr lang="pl-PL" altLang="en-US" sz="1600" dirty="0">
                <a:cs typeface="Arial" pitchFamily="34" charset="0"/>
              </a:rPr>
            </a:br>
            <a:r>
              <a:rPr lang="pl-PL" altLang="en-US" sz="1600" dirty="0">
                <a:cs typeface="Arial" pitchFamily="34" charset="0"/>
              </a:rPr>
              <a:t>to możliwe trzeba się upewnić, że sprzęt ochronny nie za plącze się w inne elementy znajdujące się w miejscu pracy.</a:t>
            </a:r>
            <a:endParaRPr lang="en-US" altLang="en-US" sz="1600" dirty="0">
              <a:cs typeface="Arial" pitchFamily="34" charset="0"/>
            </a:endParaRPr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CF05960A-E752-494B-8E34-4630B98E04F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73446"/>
            <a:ext cx="4671809" cy="3475612"/>
          </a:xfrm>
          <a:prstGeom prst="rect">
            <a:avLst/>
          </a:prstGeom>
        </p:spPr>
      </p:pic>
      <p:sp>
        <p:nvSpPr>
          <p:cNvPr id="8" name="pole tekstowe 7">
            <a:extLst>
              <a:ext uri="{FF2B5EF4-FFF2-40B4-BE49-F238E27FC236}">
                <a16:creationId xmlns:a16="http://schemas.microsoft.com/office/drawing/2014/main" id="{7BE0B1B4-E910-4374-9E8E-27CA49634300}"/>
              </a:ext>
            </a:extLst>
          </p:cNvPr>
          <p:cNvSpPr txBox="1"/>
          <p:nvPr/>
        </p:nvSpPr>
        <p:spPr>
          <a:xfrm>
            <a:off x="5908430" y="1690321"/>
            <a:ext cx="5027225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000" dirty="0"/>
              <a:t>A – małe ryzyko – punkt kotwiczenia wysoko – mniejsza siła przy upadku </a:t>
            </a:r>
          </a:p>
          <a:p>
            <a:endParaRPr lang="pl-PL" sz="2000" dirty="0"/>
          </a:p>
          <a:p>
            <a:r>
              <a:rPr lang="pl-PL" sz="2000" dirty="0"/>
              <a:t>B -  średnie ryzyko</a:t>
            </a:r>
          </a:p>
          <a:p>
            <a:endParaRPr lang="pl-PL" sz="2000" dirty="0"/>
          </a:p>
          <a:p>
            <a:r>
              <a:rPr lang="pl-PL" sz="2000" dirty="0"/>
              <a:t>C – wysokie ryzyko – punkt kotwiczenia nisko – duża siła przy upadku</a:t>
            </a:r>
          </a:p>
        </p:txBody>
      </p:sp>
      <p:sp>
        <p:nvSpPr>
          <p:cNvPr id="9" name="Owal 33">
            <a:extLst>
              <a:ext uri="{FF2B5EF4-FFF2-40B4-BE49-F238E27FC236}">
                <a16:creationId xmlns:a16="http://schemas.microsoft.com/office/drawing/2014/main" id="{DE45B469-AA00-4A5E-AE92-EFB21338725F}"/>
              </a:ext>
            </a:extLst>
          </p:cNvPr>
          <p:cNvSpPr/>
          <p:nvPr/>
        </p:nvSpPr>
        <p:spPr>
          <a:xfrm>
            <a:off x="5612422" y="3301436"/>
            <a:ext cx="257908" cy="241940"/>
          </a:xfrm>
          <a:prstGeom prst="ellipse">
            <a:avLst/>
          </a:prstGeom>
          <a:solidFill>
            <a:srgbClr val="FB31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10" name="Owal 45">
            <a:extLst>
              <a:ext uri="{FF2B5EF4-FFF2-40B4-BE49-F238E27FC236}">
                <a16:creationId xmlns:a16="http://schemas.microsoft.com/office/drawing/2014/main" id="{96667136-41A1-40FC-B064-EF2E90FBB6FE}"/>
              </a:ext>
            </a:extLst>
          </p:cNvPr>
          <p:cNvSpPr/>
          <p:nvPr/>
        </p:nvSpPr>
        <p:spPr>
          <a:xfrm>
            <a:off x="5612422" y="2692690"/>
            <a:ext cx="257908" cy="241940"/>
          </a:xfrm>
          <a:prstGeom prst="ellipse">
            <a:avLst/>
          </a:prstGeom>
          <a:solidFill>
            <a:srgbClr val="D9DF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11" name="Owal 46">
            <a:extLst>
              <a:ext uri="{FF2B5EF4-FFF2-40B4-BE49-F238E27FC236}">
                <a16:creationId xmlns:a16="http://schemas.microsoft.com/office/drawing/2014/main" id="{1D240D29-500C-4E6C-941A-C8F27AB2E595}"/>
              </a:ext>
            </a:extLst>
          </p:cNvPr>
          <p:cNvSpPr/>
          <p:nvPr/>
        </p:nvSpPr>
        <p:spPr>
          <a:xfrm>
            <a:off x="5586044" y="1785921"/>
            <a:ext cx="257908" cy="241940"/>
          </a:xfrm>
          <a:prstGeom prst="ellipse">
            <a:avLst/>
          </a:prstGeom>
          <a:solidFill>
            <a:srgbClr val="6DCF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12" name="Owal 47">
            <a:extLst>
              <a:ext uri="{FF2B5EF4-FFF2-40B4-BE49-F238E27FC236}">
                <a16:creationId xmlns:a16="http://schemas.microsoft.com/office/drawing/2014/main" id="{CC5FCE76-AA9D-468E-990C-B37EC045EBB0}"/>
              </a:ext>
            </a:extLst>
          </p:cNvPr>
          <p:cNvSpPr/>
          <p:nvPr/>
        </p:nvSpPr>
        <p:spPr>
          <a:xfrm>
            <a:off x="3816025" y="1620413"/>
            <a:ext cx="257908" cy="241940"/>
          </a:xfrm>
          <a:prstGeom prst="ellipse">
            <a:avLst/>
          </a:prstGeom>
          <a:solidFill>
            <a:srgbClr val="FB31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13" name="Owal 48">
            <a:extLst>
              <a:ext uri="{FF2B5EF4-FFF2-40B4-BE49-F238E27FC236}">
                <a16:creationId xmlns:a16="http://schemas.microsoft.com/office/drawing/2014/main" id="{2E025852-FC67-4D26-978E-83AFB3A64F7D}"/>
              </a:ext>
            </a:extLst>
          </p:cNvPr>
          <p:cNvSpPr/>
          <p:nvPr/>
        </p:nvSpPr>
        <p:spPr>
          <a:xfrm>
            <a:off x="2596825" y="1616832"/>
            <a:ext cx="257908" cy="241940"/>
          </a:xfrm>
          <a:prstGeom prst="ellipse">
            <a:avLst/>
          </a:prstGeom>
          <a:solidFill>
            <a:srgbClr val="D9DF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14" name="Owal 49">
            <a:extLst>
              <a:ext uri="{FF2B5EF4-FFF2-40B4-BE49-F238E27FC236}">
                <a16:creationId xmlns:a16="http://schemas.microsoft.com/office/drawing/2014/main" id="{BB834522-17F4-4F71-8C43-E602C80B2A7C}"/>
              </a:ext>
            </a:extLst>
          </p:cNvPr>
          <p:cNvSpPr/>
          <p:nvPr/>
        </p:nvSpPr>
        <p:spPr>
          <a:xfrm>
            <a:off x="1521151" y="1616832"/>
            <a:ext cx="257908" cy="241940"/>
          </a:xfrm>
          <a:prstGeom prst="ellipse">
            <a:avLst/>
          </a:prstGeom>
          <a:solidFill>
            <a:srgbClr val="6DCF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6" name="Tytuł 35">
            <a:extLst>
              <a:ext uri="{FF2B5EF4-FFF2-40B4-BE49-F238E27FC236}">
                <a16:creationId xmlns:a16="http://schemas.microsoft.com/office/drawing/2014/main" id="{BC539273-D0AE-A85B-C3B9-61C0BC9AE4F6}"/>
              </a:ext>
            </a:extLst>
          </p:cNvPr>
          <p:cNvSpPr txBox="1">
            <a:spLocks/>
          </p:cNvSpPr>
          <p:nvPr/>
        </p:nvSpPr>
        <p:spPr>
          <a:xfrm>
            <a:off x="2083980" y="37943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600" b="1" dirty="0">
                <a:latin typeface="Arial Nova Cond" panose="020B0506020202020204" pitchFamily="34" charset="0"/>
              </a:rPr>
              <a:t>Punkty kotwiczenia – zasady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a 7"/>
          <p:cNvGrpSpPr/>
          <p:nvPr/>
        </p:nvGrpSpPr>
        <p:grpSpPr>
          <a:xfrm>
            <a:off x="1831251" y="1186173"/>
            <a:ext cx="1967135" cy="3922579"/>
            <a:chOff x="1378766" y="1417266"/>
            <a:chExt cx="1625671" cy="3241680"/>
          </a:xfrm>
        </p:grpSpPr>
        <p:pic>
          <p:nvPicPr>
            <p:cNvPr id="9" name="Google Shape;1887;p54"/>
            <p:cNvPicPr preferRelativeResize="0"/>
            <p:nvPr/>
          </p:nvPicPr>
          <p:blipFill>
            <a:blip r:embed="rId2"/>
            <a:stretch>
              <a:fillRect/>
            </a:stretch>
          </p:blipFill>
          <p:spPr>
            <a:xfrm>
              <a:off x="1428728" y="1684091"/>
              <a:ext cx="1531450" cy="2705874"/>
            </a:xfrm>
            <a:prstGeom prst="rect">
              <a:avLst/>
            </a:prstGeom>
            <a:noFill/>
            <a:ln>
              <a:solidFill>
                <a:srgbClr val="535459"/>
              </a:solidFill>
            </a:ln>
          </p:spPr>
        </p:pic>
        <p:sp>
          <p:nvSpPr>
            <p:cNvPr id="10" name="Google Shape;1888;p54"/>
            <p:cNvSpPr/>
            <p:nvPr/>
          </p:nvSpPr>
          <p:spPr>
            <a:xfrm>
              <a:off x="1378766" y="1417266"/>
              <a:ext cx="1625671" cy="3241680"/>
            </a:xfrm>
            <a:custGeom>
              <a:avLst/>
              <a:gdLst/>
              <a:ahLst/>
              <a:cxnLst/>
              <a:rect l="l" t="t" r="r" b="b"/>
              <a:pathLst>
                <a:path w="103480" h="206345" extrusionOk="0">
                  <a:moveTo>
                    <a:pt x="61741" y="8558"/>
                  </a:moveTo>
                  <a:cubicBezTo>
                    <a:pt x="62649" y="8558"/>
                    <a:pt x="62637" y="9975"/>
                    <a:pt x="61704" y="9975"/>
                  </a:cubicBezTo>
                  <a:cubicBezTo>
                    <a:pt x="61677" y="9975"/>
                    <a:pt x="61650" y="9973"/>
                    <a:pt x="61623" y="9971"/>
                  </a:cubicBezTo>
                  <a:lnTo>
                    <a:pt x="40979" y="9971"/>
                  </a:lnTo>
                  <a:cubicBezTo>
                    <a:pt x="40952" y="9973"/>
                    <a:pt x="40925" y="9975"/>
                    <a:pt x="40898" y="9975"/>
                  </a:cubicBezTo>
                  <a:cubicBezTo>
                    <a:pt x="39965" y="9975"/>
                    <a:pt x="39952" y="8558"/>
                    <a:pt x="40861" y="8558"/>
                  </a:cubicBezTo>
                  <a:cubicBezTo>
                    <a:pt x="40899" y="8558"/>
                    <a:pt x="40938" y="8561"/>
                    <a:pt x="40979" y="8566"/>
                  </a:cubicBezTo>
                  <a:lnTo>
                    <a:pt x="61623" y="8566"/>
                  </a:lnTo>
                  <a:cubicBezTo>
                    <a:pt x="61664" y="8561"/>
                    <a:pt x="61703" y="8558"/>
                    <a:pt x="61741" y="8558"/>
                  </a:cubicBezTo>
                  <a:close/>
                  <a:moveTo>
                    <a:pt x="100713" y="16164"/>
                  </a:moveTo>
                  <a:lnTo>
                    <a:pt x="100713" y="189567"/>
                  </a:lnTo>
                  <a:lnTo>
                    <a:pt x="2987" y="189567"/>
                  </a:lnTo>
                  <a:lnTo>
                    <a:pt x="2987" y="16164"/>
                  </a:lnTo>
                  <a:close/>
                  <a:moveTo>
                    <a:pt x="22357" y="196638"/>
                  </a:moveTo>
                  <a:lnTo>
                    <a:pt x="22313" y="197165"/>
                  </a:lnTo>
                  <a:lnTo>
                    <a:pt x="18448" y="197165"/>
                  </a:lnTo>
                  <a:lnTo>
                    <a:pt x="18448" y="196638"/>
                  </a:lnTo>
                  <a:close/>
                  <a:moveTo>
                    <a:pt x="53277" y="196726"/>
                  </a:moveTo>
                  <a:cubicBezTo>
                    <a:pt x="53365" y="196726"/>
                    <a:pt x="53453" y="196814"/>
                    <a:pt x="53453" y="196945"/>
                  </a:cubicBezTo>
                  <a:lnTo>
                    <a:pt x="53453" y="199976"/>
                  </a:lnTo>
                  <a:cubicBezTo>
                    <a:pt x="53453" y="200064"/>
                    <a:pt x="53365" y="200152"/>
                    <a:pt x="53234" y="200152"/>
                  </a:cubicBezTo>
                  <a:lnTo>
                    <a:pt x="50203" y="200152"/>
                  </a:lnTo>
                  <a:cubicBezTo>
                    <a:pt x="50071" y="200152"/>
                    <a:pt x="49983" y="200064"/>
                    <a:pt x="49983" y="199976"/>
                  </a:cubicBezTo>
                  <a:lnTo>
                    <a:pt x="49983" y="196945"/>
                  </a:lnTo>
                  <a:cubicBezTo>
                    <a:pt x="49983" y="196814"/>
                    <a:pt x="50071" y="196726"/>
                    <a:pt x="50203" y="196726"/>
                  </a:cubicBezTo>
                  <a:close/>
                  <a:moveTo>
                    <a:pt x="80706" y="196517"/>
                  </a:moveTo>
                  <a:cubicBezTo>
                    <a:pt x="80761" y="196517"/>
                    <a:pt x="80816" y="196528"/>
                    <a:pt x="80860" y="196550"/>
                  </a:cubicBezTo>
                  <a:cubicBezTo>
                    <a:pt x="80948" y="196638"/>
                    <a:pt x="80948" y="196770"/>
                    <a:pt x="80860" y="196858"/>
                  </a:cubicBezTo>
                  <a:lnTo>
                    <a:pt x="79455" y="198263"/>
                  </a:lnTo>
                  <a:cubicBezTo>
                    <a:pt x="79367" y="198351"/>
                    <a:pt x="79323" y="198439"/>
                    <a:pt x="79323" y="198527"/>
                  </a:cubicBezTo>
                  <a:cubicBezTo>
                    <a:pt x="79323" y="198614"/>
                    <a:pt x="79367" y="198702"/>
                    <a:pt x="79455" y="198790"/>
                  </a:cubicBezTo>
                  <a:lnTo>
                    <a:pt x="80860" y="200196"/>
                  </a:lnTo>
                  <a:cubicBezTo>
                    <a:pt x="80948" y="200284"/>
                    <a:pt x="80948" y="200415"/>
                    <a:pt x="80860" y="200503"/>
                  </a:cubicBezTo>
                  <a:cubicBezTo>
                    <a:pt x="80816" y="200547"/>
                    <a:pt x="80761" y="200569"/>
                    <a:pt x="80706" y="200569"/>
                  </a:cubicBezTo>
                  <a:cubicBezTo>
                    <a:pt x="80652" y="200569"/>
                    <a:pt x="80597" y="200547"/>
                    <a:pt x="80553" y="200503"/>
                  </a:cubicBezTo>
                  <a:lnTo>
                    <a:pt x="79147" y="199098"/>
                  </a:lnTo>
                  <a:cubicBezTo>
                    <a:pt x="79015" y="198922"/>
                    <a:pt x="78928" y="198746"/>
                    <a:pt x="78928" y="198527"/>
                  </a:cubicBezTo>
                  <a:cubicBezTo>
                    <a:pt x="78928" y="198307"/>
                    <a:pt x="79015" y="198131"/>
                    <a:pt x="79147" y="198000"/>
                  </a:cubicBezTo>
                  <a:lnTo>
                    <a:pt x="80553" y="196550"/>
                  </a:lnTo>
                  <a:cubicBezTo>
                    <a:pt x="80597" y="196528"/>
                    <a:pt x="80652" y="196517"/>
                    <a:pt x="80706" y="196517"/>
                  </a:cubicBezTo>
                  <a:close/>
                  <a:moveTo>
                    <a:pt x="15461" y="1"/>
                  </a:moveTo>
                  <a:cubicBezTo>
                    <a:pt x="6940" y="1"/>
                    <a:pt x="1" y="6941"/>
                    <a:pt x="1" y="15461"/>
                  </a:cubicBezTo>
                  <a:lnTo>
                    <a:pt x="1" y="190884"/>
                  </a:lnTo>
                  <a:cubicBezTo>
                    <a:pt x="1" y="199405"/>
                    <a:pt x="6940" y="206345"/>
                    <a:pt x="15461" y="206345"/>
                  </a:cubicBezTo>
                  <a:lnTo>
                    <a:pt x="88019" y="206345"/>
                  </a:lnTo>
                  <a:cubicBezTo>
                    <a:pt x="96540" y="206345"/>
                    <a:pt x="103480" y="199405"/>
                    <a:pt x="103480" y="190884"/>
                  </a:cubicBezTo>
                  <a:lnTo>
                    <a:pt x="103480" y="15461"/>
                  </a:lnTo>
                  <a:cubicBezTo>
                    <a:pt x="103480" y="6941"/>
                    <a:pt x="96540" y="1"/>
                    <a:pt x="88019" y="1"/>
                  </a:cubicBezTo>
                  <a:close/>
                </a:path>
              </a:pathLst>
            </a:custGeom>
            <a:noFill/>
            <a:ln w="28575" cap="flat" cmpd="sng">
              <a:solidFill>
                <a:srgbClr val="53545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/>
            </a:p>
          </p:txBody>
        </p:sp>
      </p:grpSp>
      <p:sp>
        <p:nvSpPr>
          <p:cNvPr id="11" name="Symbol zastępczy zawartości 33">
            <a:extLst>
              <a:ext uri="{FF2B5EF4-FFF2-40B4-BE49-F238E27FC236}">
                <a16:creationId xmlns:a16="http://schemas.microsoft.com/office/drawing/2014/main" id="{51C879A3-02D2-4609-AD7E-64B746A01749}"/>
              </a:ext>
            </a:extLst>
          </p:cNvPr>
          <p:cNvSpPr txBox="1">
            <a:spLocks/>
          </p:cNvSpPr>
          <p:nvPr/>
        </p:nvSpPr>
        <p:spPr>
          <a:xfrm>
            <a:off x="5009404" y="2508184"/>
            <a:ext cx="6438901" cy="2275089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l-PL" sz="20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PROSZĘ WYŁĄCZYĆ/WYCISZYĆ TELEFONY</a:t>
            </a:r>
          </a:p>
          <a:p>
            <a:pPr>
              <a:buClr>
                <a:srgbClr val="000000"/>
              </a:buClr>
              <a:defRPr/>
            </a:pPr>
            <a:r>
              <a:rPr lang="pl-PL" sz="2000" kern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Please mute off your mobile phones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l-PL" sz="20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Gotham Book" pitchFamily="50" charset="0"/>
              <a:cs typeface="Gotham Book" pitchFamily="50" charset="0"/>
              <a:sym typeface="Arial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3" descr="Obraz zawierający budynek, ściana, wewnątrz, stojące&#10;&#10;Opis wygenerowany przy bardzo wysokim poziomie pewności">
            <a:extLst>
              <a:ext uri="{FF2B5EF4-FFF2-40B4-BE49-F238E27FC236}">
                <a16:creationId xmlns:a16="http://schemas.microsoft.com/office/drawing/2014/main" id="{8060CD01-61D7-4186-A74D-CFD67BEDD3D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1653" y="666750"/>
            <a:ext cx="2736475" cy="5153025"/>
          </a:xfrm>
          <a:prstGeom prst="rect">
            <a:avLst/>
          </a:prstGeom>
          <a:effectLst/>
        </p:spPr>
      </p:pic>
      <p:pic>
        <p:nvPicPr>
          <p:cNvPr id="5" name="Obraz 4" descr="Obraz zawierający niebo, zewnętrzne, budynek, mężczyzna&#10;&#10;Opis wygenerowany przy bardzo wysokim poziomie pewności">
            <a:extLst>
              <a:ext uri="{FF2B5EF4-FFF2-40B4-BE49-F238E27FC236}">
                <a16:creationId xmlns:a16="http://schemas.microsoft.com/office/drawing/2014/main" id="{7BCB072B-0918-4490-8100-E99A25429A9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0054" y="664813"/>
            <a:ext cx="4366203" cy="3274652"/>
          </a:xfrm>
          <a:prstGeom prst="rect">
            <a:avLst/>
          </a:prstGeom>
          <a:effectLst/>
        </p:spPr>
      </p:pic>
      <p:pic>
        <p:nvPicPr>
          <p:cNvPr id="6" name="Obraz 5" descr="Obraz zawierający niebo, płot, zewnętrzne, budynek&#10;&#10;Opis wygenerowany przy bardzo wysokim poziomie pewności">
            <a:extLst>
              <a:ext uri="{FF2B5EF4-FFF2-40B4-BE49-F238E27FC236}">
                <a16:creationId xmlns:a16="http://schemas.microsoft.com/office/drawing/2014/main" id="{5F72B93B-BB2D-458A-906C-CC1AA56F707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3078" y="664813"/>
            <a:ext cx="4402222" cy="2159557"/>
          </a:xfrm>
          <a:prstGeom prst="rect">
            <a:avLst/>
          </a:prstGeom>
          <a:effectLst/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3FC0326D-6E89-492A-854C-595DDCD3383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7162223" y="3305481"/>
            <a:ext cx="2886841" cy="2165131"/>
          </a:xfrm>
          <a:prstGeom prst="rect">
            <a:avLst/>
          </a:prstGeom>
          <a:effectLst/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576E423D-0EB7-4FCF-B4DF-89BD9AC2961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9439125" y="3345292"/>
            <a:ext cx="2886840" cy="2085509"/>
          </a:xfrm>
          <a:prstGeom prst="rect">
            <a:avLst/>
          </a:prstGeom>
          <a:effectLst/>
        </p:spPr>
      </p:pic>
      <p:pic>
        <p:nvPicPr>
          <p:cNvPr id="11" name="Obraz 10" descr="good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12580" y="4238625"/>
            <a:ext cx="1581150" cy="1581150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3" descr="Obraz zawierający osoba, podłoże, budynek, zewnętrzne&#10;&#10;Opis wygenerowany przy bardzo wysokim poziomie pewności">
            <a:extLst>
              <a:ext uri="{FF2B5EF4-FFF2-40B4-BE49-F238E27FC236}">
                <a16:creationId xmlns:a16="http://schemas.microsoft.com/office/drawing/2014/main" id="{7813C553-0666-477E-996F-DFB4BB1CD4A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48563" y="1183509"/>
            <a:ext cx="5576737" cy="4302891"/>
          </a:xfrm>
          <a:prstGeom prst="rect">
            <a:avLst/>
          </a:prstGeom>
        </p:spPr>
      </p:pic>
      <p:pic>
        <p:nvPicPr>
          <p:cNvPr id="5" name="Obraz 4" descr="Obraz zawierający budynek, zewnętrzne, podłoże, płot&#10;&#10;Opis wygenerowany przy bardzo wysokim poziomie pewności">
            <a:extLst>
              <a:ext uri="{FF2B5EF4-FFF2-40B4-BE49-F238E27FC236}">
                <a16:creationId xmlns:a16="http://schemas.microsoft.com/office/drawing/2014/main" id="{0F6883B2-7F1E-41F2-92DA-A5CD55C90C3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7175" y="1181100"/>
            <a:ext cx="5737188" cy="4302892"/>
          </a:xfrm>
          <a:prstGeom prst="rect">
            <a:avLst/>
          </a:prstGeom>
        </p:spPr>
      </p:pic>
      <p:sp>
        <p:nvSpPr>
          <p:cNvPr id="10" name="Text Box 26">
            <a:extLst>
              <a:ext uri="{FF2B5EF4-FFF2-40B4-BE49-F238E27FC236}">
                <a16:creationId xmlns:a16="http://schemas.microsoft.com/office/drawing/2014/main" id="{BE929580-E78E-4251-9B10-EF58312041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4929" y="5474686"/>
            <a:ext cx="1154214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pl-PL" altLang="en-US" sz="1600" dirty="0">
                <a:cs typeface="Arial" pitchFamily="34" charset="0"/>
              </a:rPr>
              <a:t>Strefa niebezpieczna nie może wynosić mniej niż 1/10 wysokości, z której mogą spadać przedmioty, lecz nie mniej niż 6m. Zawsze zabezpieczaj miejsce prac przed niepowołanym dostępem innych pracowników. </a:t>
            </a:r>
            <a:r>
              <a:rPr lang="en-US" altLang="en-US" sz="1600" dirty="0">
                <a:cs typeface="Arial" pitchFamily="34" charset="0"/>
              </a:rPr>
              <a:t> </a:t>
            </a:r>
            <a:r>
              <a:rPr lang="pl-PL" altLang="en-US" sz="1600" dirty="0">
                <a:cs typeface="Arial" pitchFamily="34" charset="0"/>
              </a:rPr>
              <a:t>Zwróć uwagę na potencjalne prace w kolizji.</a:t>
            </a:r>
          </a:p>
        </p:txBody>
      </p:sp>
      <p:sp>
        <p:nvSpPr>
          <p:cNvPr id="7" name="Tytuł 35">
            <a:extLst>
              <a:ext uri="{FF2B5EF4-FFF2-40B4-BE49-F238E27FC236}">
                <a16:creationId xmlns:a16="http://schemas.microsoft.com/office/drawing/2014/main" id="{8E13AF33-E89D-BBF2-D5D2-79B86DE87858}"/>
              </a:ext>
            </a:extLst>
          </p:cNvPr>
          <p:cNvSpPr txBox="1">
            <a:spLocks/>
          </p:cNvSpPr>
          <p:nvPr/>
        </p:nvSpPr>
        <p:spPr>
          <a:xfrm>
            <a:off x="2083980" y="37943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600" b="1" dirty="0">
                <a:latin typeface="Arial Nova Cond" panose="020B0506020202020204" pitchFamily="34" charset="0"/>
              </a:rPr>
              <a:t>Wygradzanie stref niebezpiecznych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az 2" descr="Obraz zawierający zewnętrzne, podłoże, plaża, woda&#10;&#10;Opis wygenerowany przy bardzo wysokim poziomie pewności">
            <a:extLst>
              <a:ext uri="{FF2B5EF4-FFF2-40B4-BE49-F238E27FC236}">
                <a16:creationId xmlns:a16="http://schemas.microsoft.com/office/drawing/2014/main" id="{9466EE0B-FD5A-4CC0-99E0-B733C2B2BA1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31090" y="1355854"/>
            <a:ext cx="2094210" cy="3711447"/>
          </a:xfrm>
          <a:prstGeom prst="rect">
            <a:avLst/>
          </a:prstGeom>
        </p:spPr>
      </p:pic>
      <p:pic>
        <p:nvPicPr>
          <p:cNvPr id="4" name="Obraz 3" descr="Obraz zawierający wewnątrz, ściana, podłoże, budynek&#10;&#10;Opis wygenerowany przy bardzo wysokim poziomie pewności">
            <a:extLst>
              <a:ext uri="{FF2B5EF4-FFF2-40B4-BE49-F238E27FC236}">
                <a16:creationId xmlns:a16="http://schemas.microsoft.com/office/drawing/2014/main" id="{265776FD-3C24-4618-974A-832E49E2772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05455" y="1342395"/>
            <a:ext cx="3069274" cy="3734432"/>
          </a:xfrm>
          <a:prstGeom prst="rect">
            <a:avLst/>
          </a:prstGeom>
        </p:spPr>
      </p:pic>
      <p:pic>
        <p:nvPicPr>
          <p:cNvPr id="5" name="Obraz 4" descr="Obraz zawierający drewniane, ławka, zewnętrzne, budynek&#10;&#10;Opis wygenerowany przy bardzo wysokim poziomie pewności">
            <a:extLst>
              <a:ext uri="{FF2B5EF4-FFF2-40B4-BE49-F238E27FC236}">
                <a16:creationId xmlns:a16="http://schemas.microsoft.com/office/drawing/2014/main" id="{33C9B8E2-0E24-496D-9E2E-0A4F47A6059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5400000">
            <a:off x="6113775" y="1676871"/>
            <a:ext cx="3711595" cy="3069274"/>
          </a:xfrm>
          <a:prstGeom prst="rect">
            <a:avLst/>
          </a:prstGeom>
        </p:spPr>
      </p:pic>
      <p:pic>
        <p:nvPicPr>
          <p:cNvPr id="6" name="Obraz 5" descr="Obraz zawierający budynek, ściana, podłoże, zewnętrzne&#10;&#10;Opis wygenerowany przy wysokim poziomie pewności">
            <a:extLst>
              <a:ext uri="{FF2B5EF4-FFF2-40B4-BE49-F238E27FC236}">
                <a16:creationId xmlns:a16="http://schemas.microsoft.com/office/drawing/2014/main" id="{DCDEB5E1-6A58-4E85-BD86-C15B9141A40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03"/>
          <a:stretch/>
        </p:blipFill>
        <p:spPr>
          <a:xfrm rot="5400000">
            <a:off x="-335635" y="1948517"/>
            <a:ext cx="3711594" cy="2525974"/>
          </a:xfrm>
          <a:prstGeom prst="rect">
            <a:avLst/>
          </a:prstGeom>
        </p:spPr>
      </p:pic>
      <p:sp>
        <p:nvSpPr>
          <p:cNvPr id="9" name="Text Box 26">
            <a:extLst>
              <a:ext uri="{FF2B5EF4-FFF2-40B4-BE49-F238E27FC236}">
                <a16:creationId xmlns:a16="http://schemas.microsoft.com/office/drawing/2014/main" id="{BE929580-E78E-4251-9B10-EF58312041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7805" y="5261677"/>
            <a:ext cx="1154214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pl-PL" altLang="en-US" sz="1600" dirty="0">
                <a:cs typeface="Arial" pitchFamily="34" charset="0"/>
              </a:rPr>
              <a:t>W trakcie realizacji stanu surowego</a:t>
            </a:r>
            <a:r>
              <a:rPr lang="en-US" altLang="en-US" sz="1600" dirty="0">
                <a:cs typeface="Arial" pitchFamily="34" charset="0"/>
              </a:rPr>
              <a:t>, </a:t>
            </a:r>
            <a:r>
              <a:rPr lang="pl-PL" altLang="en-US" sz="1600" dirty="0">
                <a:cs typeface="Arial" pitchFamily="34" charset="0"/>
              </a:rPr>
              <a:t>wszystkie szyby windowe musza zostać zabezpieczone podwójnym obarierowaniem </a:t>
            </a:r>
            <a:br>
              <a:rPr lang="pl-PL" altLang="en-US" sz="1600" dirty="0">
                <a:cs typeface="Arial" pitchFamily="34" charset="0"/>
              </a:rPr>
            </a:br>
            <a:r>
              <a:rPr lang="pl-PL" altLang="en-US" sz="1600" dirty="0">
                <a:cs typeface="Arial" pitchFamily="34" charset="0"/>
              </a:rPr>
              <a:t>oraz bartnicą, zamontowane bezpośrednio po </a:t>
            </a:r>
            <a:r>
              <a:rPr lang="pl-PL" altLang="en-US" sz="1600" dirty="0" err="1">
                <a:cs typeface="Arial" pitchFamily="34" charset="0"/>
              </a:rPr>
              <a:t>rozszalunku</a:t>
            </a:r>
            <a:r>
              <a:rPr lang="pl-PL" altLang="en-US" sz="1600" dirty="0">
                <a:cs typeface="Arial" pitchFamily="34" charset="0"/>
              </a:rPr>
              <a:t> lub ukończeniu ścian szybu dla każdego z poziomów. </a:t>
            </a:r>
            <a:br>
              <a:rPr lang="pl-PL" altLang="en-US" sz="1600" dirty="0">
                <a:cs typeface="Arial" pitchFamily="34" charset="0"/>
              </a:rPr>
            </a:br>
            <a:r>
              <a:rPr lang="pl-PL" altLang="en-US" sz="1600" dirty="0">
                <a:cs typeface="Arial" pitchFamily="34" charset="0"/>
              </a:rPr>
              <a:t>Wszystkie otwory w stropie musza zostać zabezpieczone przykryciem przymocowanym do podłoża. </a:t>
            </a:r>
            <a:endParaRPr lang="en-US" altLang="en-US" sz="1600" dirty="0">
              <a:cs typeface="Arial" pitchFamily="34" charset="0"/>
            </a:endParaRPr>
          </a:p>
        </p:txBody>
      </p:sp>
      <p:sp>
        <p:nvSpPr>
          <p:cNvPr id="10" name="Tytuł 35">
            <a:extLst>
              <a:ext uri="{FF2B5EF4-FFF2-40B4-BE49-F238E27FC236}">
                <a16:creationId xmlns:a16="http://schemas.microsoft.com/office/drawing/2014/main" id="{272F0DB1-CAEE-DB76-9CF0-6A4682A53FCE}"/>
              </a:ext>
            </a:extLst>
          </p:cNvPr>
          <p:cNvSpPr txBox="1">
            <a:spLocks/>
          </p:cNvSpPr>
          <p:nvPr/>
        </p:nvSpPr>
        <p:spPr>
          <a:xfrm>
            <a:off x="2083980" y="37943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600" b="1" dirty="0">
                <a:latin typeface="Arial Nova Cond" panose="020B0506020202020204" pitchFamily="34" charset="0"/>
              </a:rPr>
              <a:t>Szyby i otwory w stropie – zasady zabezpieczania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26">
            <a:extLst>
              <a:ext uri="{FF2B5EF4-FFF2-40B4-BE49-F238E27FC236}">
                <a16:creationId xmlns:a16="http://schemas.microsoft.com/office/drawing/2014/main" id="{BE929580-E78E-4251-9B10-EF58312041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7805" y="5015456"/>
            <a:ext cx="11542142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pl-PL" altLang="en-US" sz="1600" dirty="0">
                <a:cs typeface="Arial" pitchFamily="34" charset="0"/>
              </a:rPr>
              <a:t>Podczas planowania prac na wysokości należy pamiętać o prawidłowej sekwencji wykonania prac zgodnie z hierarchią środków ochrony.</a:t>
            </a:r>
            <a:r>
              <a:rPr lang="en-US" altLang="en-US" sz="1600" dirty="0">
                <a:cs typeface="Arial" pitchFamily="34" charset="0"/>
              </a:rPr>
              <a:t> </a:t>
            </a:r>
            <a:r>
              <a:rPr lang="pl-PL" altLang="en-US" sz="1600" dirty="0">
                <a:cs typeface="Arial" pitchFamily="34" charset="0"/>
              </a:rPr>
              <a:t>Naszym pierwszym wyborem powinno być użycie ochron zbiorowych np. takich jak rusztowania. </a:t>
            </a:r>
            <a:br>
              <a:rPr lang="pl-PL" altLang="en-US" sz="1600" dirty="0">
                <a:cs typeface="Arial" pitchFamily="34" charset="0"/>
              </a:rPr>
            </a:br>
            <a:r>
              <a:rPr lang="pl-PL" altLang="en-US" sz="1600" dirty="0">
                <a:cs typeface="Arial" pitchFamily="34" charset="0"/>
              </a:rPr>
              <a:t>Przy rusztowaniach przejezdnych, gdzie ich wysokość jest 3 razy większa niż węższy bok rusztowania, należy zastosować wypory boczne, aby zapewnić ich stabilność (należy sprawdzić instrukcje rusztowania). </a:t>
            </a:r>
            <a:endParaRPr lang="en-US" altLang="en-US" sz="1600" dirty="0">
              <a:cs typeface="Arial" pitchFamily="34" charset="0"/>
            </a:endParaRPr>
          </a:p>
        </p:txBody>
      </p:sp>
      <p:pic>
        <p:nvPicPr>
          <p:cNvPr id="9" name="Obraz 8" descr="Obraz zawierający budynek, rusztowanie&#10;&#10;Opis wygenerowany przy bardzo wysokim poziomie pewności">
            <a:extLst>
              <a:ext uri="{FF2B5EF4-FFF2-40B4-BE49-F238E27FC236}">
                <a16:creationId xmlns:a16="http://schemas.microsoft.com/office/drawing/2014/main" id="{9D85EF46-C516-437E-A129-FE74ED1B0F7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111744" y="1635252"/>
            <a:ext cx="3591418" cy="2853579"/>
          </a:xfrm>
          <a:prstGeom prst="rect">
            <a:avLst/>
          </a:prstGeom>
        </p:spPr>
      </p:pic>
      <p:pic>
        <p:nvPicPr>
          <p:cNvPr id="10" name="Obraz 9" descr="Obraz zawierający wewnątrz, budynek, ściana, podłoże&#10;&#10;Opis wygenerowany przy bardzo wysokim poziomie pewności">
            <a:extLst>
              <a:ext uri="{FF2B5EF4-FFF2-40B4-BE49-F238E27FC236}">
                <a16:creationId xmlns:a16="http://schemas.microsoft.com/office/drawing/2014/main" id="{12B67759-8A40-43DB-9154-F29C1888408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841576" y="1742227"/>
            <a:ext cx="3600453" cy="2630598"/>
          </a:xfrm>
          <a:prstGeom prst="rect">
            <a:avLst/>
          </a:prstGeom>
        </p:spPr>
      </p:pic>
      <p:pic>
        <p:nvPicPr>
          <p:cNvPr id="11" name="Obraz 10" descr="Obraz zawierający rusztowanie&#10;&#10;Opis wygenerowany przy wysokim poziomie pewności">
            <a:extLst>
              <a:ext uri="{FF2B5EF4-FFF2-40B4-BE49-F238E27FC236}">
                <a16:creationId xmlns:a16="http://schemas.microsoft.com/office/drawing/2014/main" id="{7C6BEA2B-3311-4973-B34D-309A3445EFC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5400000">
            <a:off x="5920158" y="1474770"/>
            <a:ext cx="3603018" cy="3162947"/>
          </a:xfrm>
          <a:prstGeom prst="rect">
            <a:avLst/>
          </a:prstGeom>
        </p:spPr>
      </p:pic>
      <p:pic>
        <p:nvPicPr>
          <p:cNvPr id="12" name="Obraz 11" descr="Obraz zawierający wewnątrz, budynek, podłoże&#10;&#10;Opis wygenerowany przy wysokim poziomie pewności">
            <a:extLst>
              <a:ext uri="{FF2B5EF4-FFF2-40B4-BE49-F238E27FC236}">
                <a16:creationId xmlns:a16="http://schemas.microsoft.com/office/drawing/2014/main" id="{3424D8D1-7EFE-4F08-9C3C-6A2F25F89A2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5400000">
            <a:off x="8929964" y="1862417"/>
            <a:ext cx="3587141" cy="2403530"/>
          </a:xfrm>
          <a:prstGeom prst="rect">
            <a:avLst/>
          </a:prstGeom>
        </p:spPr>
      </p:pic>
      <p:sp>
        <p:nvSpPr>
          <p:cNvPr id="5" name="Tytuł 35">
            <a:extLst>
              <a:ext uri="{FF2B5EF4-FFF2-40B4-BE49-F238E27FC236}">
                <a16:creationId xmlns:a16="http://schemas.microsoft.com/office/drawing/2014/main" id="{79E3A698-8DEA-D091-8426-B4060932676D}"/>
              </a:ext>
            </a:extLst>
          </p:cNvPr>
          <p:cNvSpPr txBox="1">
            <a:spLocks/>
          </p:cNvSpPr>
          <p:nvPr/>
        </p:nvSpPr>
        <p:spPr>
          <a:xfrm>
            <a:off x="2083981" y="28362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Rusztowania – kompletność (w tym </a:t>
            </a:r>
            <a:r>
              <a:rPr lang="pl-PL" sz="2400" b="1" dirty="0" err="1">
                <a:latin typeface="Arial Nova Cond" panose="020B0506020202020204" pitchFamily="34" charset="0"/>
              </a:rPr>
              <a:t>kotwienie</a:t>
            </a:r>
            <a:r>
              <a:rPr lang="pl-PL" sz="2400" b="1" dirty="0">
                <a:latin typeface="Arial Nova Cond" panose="020B0506020202020204" pitchFamily="34" charset="0"/>
              </a:rPr>
              <a:t> / lub wypory boczne)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699" y="1923193"/>
            <a:ext cx="7762876" cy="34679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dirty="0">
                <a:latin typeface="Arial" pitchFamily="34" charset="0"/>
                <a:cs typeface="Arial" pitchFamily="34" charset="0"/>
              </a:rPr>
              <a:t>Drabiny mogą być użyte do pracy na budowie wtedy, gdy wykorzystanie innego bardziej bezpiecznego sprzętu do pracy na wysokości </a:t>
            </a:r>
            <a:br>
              <a:rPr lang="pl-PL" dirty="0">
                <a:latin typeface="Arial" pitchFamily="34" charset="0"/>
                <a:cs typeface="Arial" pitchFamily="34" charset="0"/>
              </a:rPr>
            </a:br>
            <a:r>
              <a:rPr lang="pl-PL" dirty="0">
                <a:latin typeface="Arial" pitchFamily="34" charset="0"/>
                <a:cs typeface="Arial" pitchFamily="34" charset="0"/>
              </a:rPr>
              <a:t>nie jest możliwe</a:t>
            </a:r>
            <a:r>
              <a:rPr kumimoji="0" lang="pl-PL" altLang="en-US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;</a:t>
            </a:r>
            <a:endParaRPr kumimoji="0" lang="pl-PL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lvl="0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dirty="0">
                <a:latin typeface="Arial" pitchFamily="34" charset="0"/>
                <a:cs typeface="Arial" pitchFamily="34" charset="0"/>
              </a:rPr>
              <a:t>Nie wolno:</a:t>
            </a:r>
            <a:endParaRPr kumimoji="0" lang="en-US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685794" lvl="1" indent="-228594" defTabSz="914377">
              <a:spcBef>
                <a:spcPct val="30000"/>
              </a:spcBef>
              <a:buFont typeface="Arial" pitchFamily="34" charset="0"/>
              <a:buChar char="‒"/>
            </a:pPr>
            <a:r>
              <a:rPr lang="pl-PL" dirty="0">
                <a:latin typeface="Arial" pitchFamily="34" charset="0"/>
                <a:cs typeface="Arial" pitchFamily="34" charset="0"/>
              </a:rPr>
              <a:t>Pracować na drabinach na wysokości powyżej 2m nad poziomem terenu bez stosowania odpowiedniego sprzętu chroniącego przed upadkiem z wysokości (szelki BHP);</a:t>
            </a:r>
            <a:endParaRPr lang="pl-PL" alt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685794" lvl="1" indent="-228594" defTabSz="914377">
              <a:spcBef>
                <a:spcPct val="30000"/>
              </a:spcBef>
              <a:buFont typeface="Arial" pitchFamily="34" charset="0"/>
              <a:buChar char="‒"/>
            </a:pPr>
            <a:r>
              <a:rPr lang="pl-PL" dirty="0">
                <a:latin typeface="Arial" pitchFamily="34" charset="0"/>
                <a:cs typeface="Arial" pitchFamily="34" charset="0"/>
              </a:rPr>
              <a:t>Wykonywać z drabin prac ciesielskich na wysokości powyżej 3m, wykonywać z drabin prac malarskich na wysokości powyżej  4m.</a:t>
            </a:r>
            <a:endParaRPr kumimoji="0" lang="en-GB" altLang="en-US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54566972-BF99-4EC1-AB00-EFCAF80D76E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05950" y="1266824"/>
            <a:ext cx="2419350" cy="3504311"/>
          </a:xfrm>
          <a:prstGeom prst="rect">
            <a:avLst/>
          </a:prstGeom>
        </p:spPr>
      </p:pic>
      <p:sp>
        <p:nvSpPr>
          <p:cNvPr id="7" name="pole tekstowe 6">
            <a:extLst>
              <a:ext uri="{FF2B5EF4-FFF2-40B4-BE49-F238E27FC236}">
                <a16:creationId xmlns:a16="http://schemas.microsoft.com/office/drawing/2014/main" id="{433DEFC7-A63B-473F-B7EF-69DCF864D330}"/>
              </a:ext>
            </a:extLst>
          </p:cNvPr>
          <p:cNvSpPr txBox="1"/>
          <p:nvPr/>
        </p:nvSpPr>
        <p:spPr>
          <a:xfrm>
            <a:off x="9486901" y="4888670"/>
            <a:ext cx="25526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500" i="1" dirty="0">
                <a:latin typeface="Arial" pitchFamily="34" charset="0"/>
                <a:cs typeface="Arial" pitchFamily="34" charset="0"/>
              </a:rPr>
              <a:t>Wysokość drabiny powinna umożliwiać pracownikowi pochwycenie podczas wykonywania pracy.</a:t>
            </a:r>
          </a:p>
        </p:txBody>
      </p:sp>
      <p:sp>
        <p:nvSpPr>
          <p:cNvPr id="9" name="Tytuł 35">
            <a:extLst>
              <a:ext uri="{FF2B5EF4-FFF2-40B4-BE49-F238E27FC236}">
                <a16:creationId xmlns:a16="http://schemas.microsoft.com/office/drawing/2014/main" id="{3DDDE757-6779-6C3F-0A1E-1AA8F91EA7F0}"/>
              </a:ext>
            </a:extLst>
          </p:cNvPr>
          <p:cNvSpPr txBox="1">
            <a:spLocks/>
          </p:cNvSpPr>
          <p:nvPr/>
        </p:nvSpPr>
        <p:spPr>
          <a:xfrm>
            <a:off x="266699" y="807868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Prace z drabin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Zasady bezpiecznej pracy</a:t>
            </a: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3">
            <a:extLst>
              <a:ext uri="{FF2B5EF4-FFF2-40B4-BE49-F238E27FC236}">
                <a16:creationId xmlns:a16="http://schemas.microsoft.com/office/drawing/2014/main" id="{4A1E823B-B564-4957-BE54-AC69FC74C0C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6796" y="3429000"/>
            <a:ext cx="3898504" cy="2653030"/>
          </a:xfrm>
          <a:prstGeom prst="rect">
            <a:avLst/>
          </a:prstGeom>
          <a:effectLst/>
        </p:spPr>
      </p:pic>
      <p:pic>
        <p:nvPicPr>
          <p:cNvPr id="5" name="Obraz 4">
            <a:extLst>
              <a:ext uri="{FF2B5EF4-FFF2-40B4-BE49-F238E27FC236}">
                <a16:creationId xmlns:a16="http://schemas.microsoft.com/office/drawing/2014/main" id="{459010D4-9780-464A-9919-7BD548BF2E8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64284" y="648983"/>
            <a:ext cx="3861016" cy="2636717"/>
          </a:xfrm>
          <a:prstGeom prst="rect">
            <a:avLst/>
          </a:prstGeom>
          <a:effectLst/>
        </p:spPr>
      </p:pic>
      <p:pic>
        <p:nvPicPr>
          <p:cNvPr id="6" name="Obraz 5" descr="Obraz zawierający zewnętrzne, niebo, drzewo, transport&#10;&#10;Opis wygenerowany przy bardzo wysokim poziomie pewności">
            <a:extLst>
              <a:ext uri="{FF2B5EF4-FFF2-40B4-BE49-F238E27FC236}">
                <a16:creationId xmlns:a16="http://schemas.microsoft.com/office/drawing/2014/main" id="{DCB8734E-E63B-4E9B-8386-82FB289F373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35539" y="3445313"/>
            <a:ext cx="2692700" cy="2636717"/>
          </a:xfrm>
          <a:prstGeom prst="rect">
            <a:avLst/>
          </a:prstGeom>
          <a:effectLst/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BDD315E0-3A85-4D2C-92D9-0E2919F6632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7175" y="1830694"/>
            <a:ext cx="2307452" cy="4251336"/>
          </a:xfrm>
          <a:prstGeom prst="rect">
            <a:avLst/>
          </a:prstGeom>
          <a:effectLst/>
        </p:spPr>
      </p:pic>
      <p:pic>
        <p:nvPicPr>
          <p:cNvPr id="8" name="Obraz 7" descr="Obraz zawierający budynek, zewnętrzne, niebo, podłoże&#10;&#10;Opis wygenerowany przy wysokim poziomie pewności">
            <a:extLst>
              <a:ext uri="{FF2B5EF4-FFF2-40B4-BE49-F238E27FC236}">
                <a16:creationId xmlns:a16="http://schemas.microsoft.com/office/drawing/2014/main" id="{D18A6D05-E9CC-417F-874B-161E7ACB75E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14486" y="1809989"/>
            <a:ext cx="2379553" cy="4272041"/>
          </a:xfrm>
          <a:prstGeom prst="rect">
            <a:avLst/>
          </a:prstGeom>
          <a:effectLst/>
        </p:spPr>
      </p:pic>
      <p:pic>
        <p:nvPicPr>
          <p:cNvPr id="9" name="Obraz 8">
            <a:extLst>
              <a:ext uri="{FF2B5EF4-FFF2-40B4-BE49-F238E27FC236}">
                <a16:creationId xmlns:a16="http://schemas.microsoft.com/office/drawing/2014/main" id="{F40CCB79-9F86-4490-91C7-E05D43643C7D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16684" y="3429000"/>
            <a:ext cx="1474026" cy="983913"/>
          </a:xfrm>
          <a:prstGeom prst="rect">
            <a:avLst/>
          </a:prstGeom>
          <a:effectLst/>
        </p:spPr>
      </p:pic>
      <p:pic>
        <p:nvPicPr>
          <p:cNvPr id="13" name="Obraz 12" descr="good.png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6048" y="1291500"/>
            <a:ext cx="1351682" cy="1351682"/>
          </a:xfrm>
          <a:prstGeom prst="rect">
            <a:avLst/>
          </a:prstGeom>
        </p:spPr>
      </p:pic>
      <p:sp>
        <p:nvSpPr>
          <p:cNvPr id="11" name="Tytuł 35">
            <a:extLst>
              <a:ext uri="{FF2B5EF4-FFF2-40B4-BE49-F238E27FC236}">
                <a16:creationId xmlns:a16="http://schemas.microsoft.com/office/drawing/2014/main" id="{00474406-5E77-C3E7-5466-6E8F1303C898}"/>
              </a:ext>
            </a:extLst>
          </p:cNvPr>
          <p:cNvSpPr txBox="1">
            <a:spLocks/>
          </p:cNvSpPr>
          <p:nvPr/>
        </p:nvSpPr>
        <p:spPr>
          <a:xfrm>
            <a:off x="138224" y="775970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</a:t>
            </a: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4">
            <a:extLst>
              <a:ext uri="{FF2B5EF4-FFF2-40B4-BE49-F238E27FC236}">
                <a16:creationId xmlns:a16="http://schemas.microsoft.com/office/drawing/2014/main" id="{A3BC0C59-C191-447B-9D89-927C0117E4B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9468" y="924031"/>
            <a:ext cx="3430132" cy="2763793"/>
          </a:xfrm>
          <a:prstGeom prst="rect">
            <a:avLst/>
          </a:prstGeom>
        </p:spPr>
      </p:pic>
      <p:grpSp>
        <p:nvGrpSpPr>
          <p:cNvPr id="13" name="Grupa 12"/>
          <p:cNvGrpSpPr/>
          <p:nvPr/>
        </p:nvGrpSpPr>
        <p:grpSpPr>
          <a:xfrm>
            <a:off x="257175" y="3788642"/>
            <a:ext cx="5485518" cy="2394287"/>
            <a:chOff x="257175" y="3788642"/>
            <a:chExt cx="5485518" cy="2394287"/>
          </a:xfrm>
        </p:grpSpPr>
        <p:pic>
          <p:nvPicPr>
            <p:cNvPr id="4" name="Obraz 3">
              <a:extLst>
                <a:ext uri="{FF2B5EF4-FFF2-40B4-BE49-F238E27FC236}">
                  <a16:creationId xmlns:a16="http://schemas.microsoft.com/office/drawing/2014/main" id="{629698F1-6F06-4B50-B4D3-0E979C3F691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7175" y="3788642"/>
              <a:ext cx="2574641" cy="2394287"/>
            </a:xfrm>
            <a:prstGeom prst="rect">
              <a:avLst/>
            </a:prstGeom>
          </p:spPr>
        </p:pic>
        <p:pic>
          <p:nvPicPr>
            <p:cNvPr id="6" name="Obraz 5">
              <a:extLst>
                <a:ext uri="{FF2B5EF4-FFF2-40B4-BE49-F238E27FC236}">
                  <a16:creationId xmlns:a16="http://schemas.microsoft.com/office/drawing/2014/main" id="{1D2F4FE1-73EA-4596-A59D-020B98950C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02812" y="3810348"/>
              <a:ext cx="2739881" cy="2355587"/>
            </a:xfrm>
            <a:prstGeom prst="rect">
              <a:avLst/>
            </a:prstGeom>
          </p:spPr>
        </p:pic>
      </p:grpSp>
      <p:pic>
        <p:nvPicPr>
          <p:cNvPr id="7" name="Obraz 6">
            <a:extLst>
              <a:ext uri="{FF2B5EF4-FFF2-40B4-BE49-F238E27FC236}">
                <a16:creationId xmlns:a16="http://schemas.microsoft.com/office/drawing/2014/main" id="{886AF660-83AD-4075-983C-B1A5C16A8E2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76031" y="3805634"/>
            <a:ext cx="2949269" cy="2355587"/>
          </a:xfrm>
          <a:prstGeom prst="rect">
            <a:avLst/>
          </a:prstGeom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36C933AF-2261-4D74-8AD9-1BF490DD0903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76031" y="907804"/>
            <a:ext cx="2949269" cy="2777191"/>
          </a:xfrm>
          <a:prstGeom prst="rect">
            <a:avLst/>
          </a:prstGeom>
        </p:spPr>
      </p:pic>
      <p:pic>
        <p:nvPicPr>
          <p:cNvPr id="9" name="Symbol zastępczy zawartości 12">
            <a:extLst>
              <a:ext uri="{FF2B5EF4-FFF2-40B4-BE49-F238E27FC236}">
                <a16:creationId xmlns:a16="http://schemas.microsoft.com/office/drawing/2014/main" id="{C4B7D472-7FAA-4DF0-9752-5E9FEF7CA0DC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10965" y="3819873"/>
            <a:ext cx="2878160" cy="2319047"/>
          </a:xfrm>
          <a:prstGeom prst="rect">
            <a:avLst/>
          </a:prstGeom>
        </p:spPr>
      </p:pic>
      <p:pic>
        <p:nvPicPr>
          <p:cNvPr id="14" name="Obraz 13" descr="good.png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51519" y="1964094"/>
            <a:ext cx="1351682" cy="1351682"/>
          </a:xfrm>
          <a:prstGeom prst="rect">
            <a:avLst/>
          </a:prstGeom>
        </p:spPr>
      </p:pic>
      <p:sp>
        <p:nvSpPr>
          <p:cNvPr id="11" name="Tytuł 35">
            <a:extLst>
              <a:ext uri="{FF2B5EF4-FFF2-40B4-BE49-F238E27FC236}">
                <a16:creationId xmlns:a16="http://schemas.microsoft.com/office/drawing/2014/main" id="{22577258-8941-D371-AF8D-E613C5DAC5B9}"/>
              </a:ext>
            </a:extLst>
          </p:cNvPr>
          <p:cNvSpPr txBox="1">
            <a:spLocks/>
          </p:cNvSpPr>
          <p:nvPr/>
        </p:nvSpPr>
        <p:spPr>
          <a:xfrm>
            <a:off x="138224" y="775970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</a:t>
            </a: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ole tekstowe 5"/>
          <p:cNvSpPr txBox="1"/>
          <p:nvPr/>
        </p:nvSpPr>
        <p:spPr>
          <a:xfrm>
            <a:off x="266700" y="1943701"/>
            <a:ext cx="6830786" cy="2723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900" dirty="0">
                <a:latin typeface="Arial" pitchFamily="34" charset="0"/>
                <a:cs typeface="Arial" pitchFamily="34" charset="0"/>
              </a:rPr>
              <a:t>Do transportu silikatów należy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1900" dirty="0">
                <a:latin typeface="Arial" pitchFamily="34" charset="0"/>
                <a:cs typeface="Arial" pitchFamily="34" charset="0"/>
              </a:rPr>
              <a:t>Zapewnić transport palet pojedynczo,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1900" dirty="0">
                <a:latin typeface="Arial" pitchFamily="34" charset="0"/>
                <a:cs typeface="Arial" pitchFamily="34" charset="0"/>
              </a:rPr>
              <a:t>Stosowanie pary zawiesi pasowych w podpięciu metodą na zaciąg + pas transportowy dookoła,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sz="1900" dirty="0">
              <a:latin typeface="Arial" pitchFamily="34" charset="0"/>
              <a:cs typeface="Arial" pitchFamily="34" charset="0"/>
            </a:endParaRPr>
          </a:p>
          <a:p>
            <a:r>
              <a:rPr lang="pl-PL" sz="1900" dirty="0">
                <a:latin typeface="Arial" pitchFamily="34" charset="0"/>
                <a:cs typeface="Arial" pitchFamily="34" charset="0"/>
              </a:rPr>
              <a:t>Alternatywą jest stosowanie specjalnych wideł lub chwytaków transportowych z dodatkowym łańcuchem zabezpieczającym, siatką lub inny sposób zgodny z instrukcją producenta.</a:t>
            </a:r>
          </a:p>
          <a:p>
            <a:endParaRPr lang="pl-PL" sz="19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B6605787-7057-4021-9770-5072B1E4F1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7247" y="1361311"/>
            <a:ext cx="4298053" cy="4515614"/>
          </a:xfrm>
          <a:prstGeom prst="rect">
            <a:avLst/>
          </a:prstGeom>
        </p:spPr>
      </p:pic>
      <p:pic>
        <p:nvPicPr>
          <p:cNvPr id="9" name="Obraz 8" descr="goo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90884" y="4396650"/>
            <a:ext cx="1351682" cy="1351682"/>
          </a:xfrm>
          <a:prstGeom prst="rect">
            <a:avLst/>
          </a:prstGeom>
        </p:spPr>
      </p:pic>
      <p:sp>
        <p:nvSpPr>
          <p:cNvPr id="5" name="Tytuł 35">
            <a:extLst>
              <a:ext uri="{FF2B5EF4-FFF2-40B4-BE49-F238E27FC236}">
                <a16:creationId xmlns:a16="http://schemas.microsoft.com/office/drawing/2014/main" id="{5F5D79BA-C837-537F-5CBB-6D66AA46FF29}"/>
              </a:ext>
            </a:extLst>
          </p:cNvPr>
          <p:cNvSpPr txBox="1">
            <a:spLocks/>
          </p:cNvSpPr>
          <p:nvPr/>
        </p:nvSpPr>
        <p:spPr>
          <a:xfrm>
            <a:off x="138224" y="775970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</a:t>
            </a: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az 7">
            <a:extLst>
              <a:ext uri="{FF2B5EF4-FFF2-40B4-BE49-F238E27FC236}">
                <a16:creationId xmlns:a16="http://schemas.microsoft.com/office/drawing/2014/main" id="{8ECDD93F-EF90-454F-A58D-4C0F7E18947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39610" y="1361311"/>
            <a:ext cx="5285690" cy="4513155"/>
          </a:xfrm>
          <a:prstGeom prst="rect">
            <a:avLst/>
          </a:prstGeom>
        </p:spPr>
      </p:pic>
      <p:sp>
        <p:nvSpPr>
          <p:cNvPr id="4" name="pole tekstowe 3"/>
          <p:cNvSpPr txBox="1"/>
          <p:nvPr/>
        </p:nvSpPr>
        <p:spPr>
          <a:xfrm>
            <a:off x="266700" y="1943701"/>
            <a:ext cx="683078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900" dirty="0">
                <a:latin typeface="Arial" pitchFamily="34" charset="0"/>
                <a:cs typeface="Arial" pitchFamily="34" charset="0"/>
              </a:rPr>
              <a:t>Materiały transportowane w otwartych koszach </a:t>
            </a:r>
            <a:br>
              <a:rPr lang="pl-PL" sz="1900" dirty="0">
                <a:latin typeface="Arial" pitchFamily="34" charset="0"/>
                <a:cs typeface="Arial" pitchFamily="34" charset="0"/>
              </a:rPr>
            </a:br>
            <a:r>
              <a:rPr lang="pl-PL" sz="1900" dirty="0">
                <a:latin typeface="Arial" pitchFamily="34" charset="0"/>
                <a:cs typeface="Arial" pitchFamily="34" charset="0"/>
              </a:rPr>
              <a:t>powinny być dodatkowo spięte pasem.</a:t>
            </a:r>
          </a:p>
        </p:txBody>
      </p:sp>
      <p:pic>
        <p:nvPicPr>
          <p:cNvPr id="6" name="Obraz 5" descr="goo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57409" y="4396650"/>
            <a:ext cx="1351682" cy="1351682"/>
          </a:xfrm>
          <a:prstGeom prst="rect">
            <a:avLst/>
          </a:prstGeom>
        </p:spPr>
      </p:pic>
      <p:sp>
        <p:nvSpPr>
          <p:cNvPr id="7" name="Tytuł 35">
            <a:extLst>
              <a:ext uri="{FF2B5EF4-FFF2-40B4-BE49-F238E27FC236}">
                <a16:creationId xmlns:a16="http://schemas.microsoft.com/office/drawing/2014/main" id="{720820A6-D047-2D00-632E-E991510E8425}"/>
              </a:ext>
            </a:extLst>
          </p:cNvPr>
          <p:cNvSpPr txBox="1">
            <a:spLocks/>
          </p:cNvSpPr>
          <p:nvPr/>
        </p:nvSpPr>
        <p:spPr>
          <a:xfrm>
            <a:off x="138224" y="775970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</a:t>
            </a: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3">
            <a:extLst>
              <a:ext uri="{FF2B5EF4-FFF2-40B4-BE49-F238E27FC236}">
                <a16:creationId xmlns:a16="http://schemas.microsoft.com/office/drawing/2014/main" id="{52DE987D-D4AE-489A-905A-F9872D6C156D}"/>
              </a:ext>
            </a:extLst>
          </p:cNvPr>
          <p:cNvPicPr/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5400000">
            <a:off x="7724791" y="1379555"/>
            <a:ext cx="3933002" cy="4468014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Symbol zastępczy zawartości 6" descr="Obraz zawierający niebo, budynek, zewnętrzne, transport&#10;&#10;Opis wygenerowany przy bardzo wysokim poziomie pewności">
            <a:extLst>
              <a:ext uri="{FF2B5EF4-FFF2-40B4-BE49-F238E27FC236}">
                <a16:creationId xmlns:a16="http://schemas.microsoft.com/office/drawing/2014/main" id="{B5D526BE-44CD-4676-9582-B2C00288F6B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3755923" y="2039317"/>
            <a:ext cx="3933003" cy="3148494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209523D1-6879-417C-A899-190D3E9781B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7175" y="1647060"/>
            <a:ext cx="3724275" cy="3925065"/>
          </a:xfrm>
          <a:prstGeom prst="rect">
            <a:avLst/>
          </a:prstGeom>
        </p:spPr>
      </p:pic>
      <p:pic>
        <p:nvPicPr>
          <p:cNvPr id="12" name="Obraz 11" descr="good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4177" y="1733552"/>
            <a:ext cx="742948" cy="742948"/>
          </a:xfrm>
          <a:prstGeom prst="rect">
            <a:avLst/>
          </a:prstGeom>
        </p:spPr>
      </p:pic>
      <p:pic>
        <p:nvPicPr>
          <p:cNvPr id="13" name="Obraz 12" descr="good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027" y="1733552"/>
            <a:ext cx="742948" cy="742948"/>
          </a:xfrm>
          <a:prstGeom prst="rect">
            <a:avLst/>
          </a:prstGeom>
        </p:spPr>
      </p:pic>
      <p:pic>
        <p:nvPicPr>
          <p:cNvPr id="14" name="Obraz 13" descr="good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63277" y="1733552"/>
            <a:ext cx="742948" cy="742948"/>
          </a:xfrm>
          <a:prstGeom prst="rect">
            <a:avLst/>
          </a:prstGeom>
        </p:spPr>
      </p:pic>
      <p:sp>
        <p:nvSpPr>
          <p:cNvPr id="8" name="Tytuł 35">
            <a:extLst>
              <a:ext uri="{FF2B5EF4-FFF2-40B4-BE49-F238E27FC236}">
                <a16:creationId xmlns:a16="http://schemas.microsoft.com/office/drawing/2014/main" id="{F97689B6-2245-00A2-4299-EA10460E7512}"/>
              </a:ext>
            </a:extLst>
          </p:cNvPr>
          <p:cNvSpPr txBox="1">
            <a:spLocks/>
          </p:cNvSpPr>
          <p:nvPr/>
        </p:nvSpPr>
        <p:spPr>
          <a:xfrm>
            <a:off x="2119311" y="106119"/>
            <a:ext cx="9805987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 – </a:t>
            </a:r>
            <a:r>
              <a:rPr lang="pl-PL" sz="2400" b="1" dirty="0">
                <a:solidFill>
                  <a:srgbClr val="FF0000"/>
                </a:solidFill>
                <a:latin typeface="Arial Nova Cond" panose="020B0506020202020204" pitchFamily="34" charset="0"/>
              </a:rPr>
              <a:t>niebezpieczne praktyki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stokąt 1">
            <a:extLst>
              <a:ext uri="{FF2B5EF4-FFF2-40B4-BE49-F238E27FC236}">
                <a16:creationId xmlns:a16="http://schemas.microsoft.com/office/drawing/2014/main" id="{82E404CB-4913-0C7F-12EC-D47A17CDA3FE}"/>
              </a:ext>
            </a:extLst>
          </p:cNvPr>
          <p:cNvSpPr/>
          <p:nvPr/>
        </p:nvSpPr>
        <p:spPr>
          <a:xfrm>
            <a:off x="0" y="645883"/>
            <a:ext cx="12192000" cy="56599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pic>
        <p:nvPicPr>
          <p:cNvPr id="10" name="Symbol zastępczy obrazu 9" descr="Obraz zawierający zewnętrzne, budynek, trawa, droga&#10;&#10;Opis wygenerowany automatycznie">
            <a:extLst>
              <a:ext uri="{FF2B5EF4-FFF2-40B4-BE49-F238E27FC236}">
                <a16:creationId xmlns:a16="http://schemas.microsoft.com/office/drawing/2014/main" id="{422C0C24-681F-49D0-8069-877E14627506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21" r="12721"/>
          <a:stretch>
            <a:fillRect/>
          </a:stretch>
        </p:blipFill>
        <p:spPr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lvl="0"/>
            <a:r>
              <a:rPr lang="pl-PL" sz="2400" dirty="0">
                <a:latin typeface="Arial" panose="020B0604020202020204" pitchFamily="34" charset="0"/>
                <a:cs typeface="Arial" panose="020B0604020202020204" pitchFamily="34" charset="0"/>
              </a:rPr>
              <a:t>Informacje o projekcie  </a:t>
            </a:r>
            <a:r>
              <a:rPr lang="pl-PL" dirty="0">
                <a:solidFill>
                  <a:srgbClr val="FB2F0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pisz nazwę Twojego projektu</a:t>
            </a:r>
            <a:b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out the project</a:t>
            </a:r>
          </a:p>
        </p:txBody>
      </p:sp>
      <p:sp>
        <p:nvSpPr>
          <p:cNvPr id="21" name="pole tekstowe 20"/>
          <p:cNvSpPr txBox="1"/>
          <p:nvPr/>
        </p:nvSpPr>
        <p:spPr>
          <a:xfrm>
            <a:off x="266700" y="1943700"/>
            <a:ext cx="4997053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Zespół realizujący: </a:t>
            </a:r>
            <a:r>
              <a:rPr lang="pl-PL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 </a:t>
            </a:r>
          </a:p>
          <a:p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e team</a:t>
            </a:r>
            <a:endParaRPr lang="pl-PL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Start</a:t>
            </a:r>
            <a:r>
              <a:rPr lang="pl-PL" b="1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pl-PL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</a:p>
          <a:p>
            <a:pPr>
              <a:lnSpc>
                <a:spcPct val="150000"/>
              </a:lnSpc>
            </a:pPr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Zakończenie </a:t>
            </a: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</a:t>
            </a:r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pl-PL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</a:p>
          <a:p>
            <a:pPr>
              <a:lnSpc>
                <a:spcPct val="150000"/>
              </a:lnSpc>
            </a:pPr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Wielkość projektu (PUM): </a:t>
            </a:r>
            <a:r>
              <a:rPr lang="pl-PL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 </a:t>
            </a:r>
          </a:p>
          <a:p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ze of project</a:t>
            </a:r>
            <a:endParaRPr lang="pl-PL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Liczba kondygnacji: </a:t>
            </a:r>
            <a:r>
              <a:rPr lang="pl-PL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</a:p>
          <a:p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pl-PL" baseline="30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pl-PL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oors</a:t>
            </a:r>
            <a:endParaRPr lang="pl-PL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l-PL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upa 4">
            <a:extLst>
              <a:ext uri="{FF2B5EF4-FFF2-40B4-BE49-F238E27FC236}">
                <a16:creationId xmlns:a16="http://schemas.microsoft.com/office/drawing/2014/main" id="{E9F13B07-5C67-4512-A30D-DB85D009ACF8}"/>
              </a:ext>
            </a:extLst>
          </p:cNvPr>
          <p:cNvGrpSpPr/>
          <p:nvPr/>
        </p:nvGrpSpPr>
        <p:grpSpPr>
          <a:xfrm>
            <a:off x="9835935" y="1615203"/>
            <a:ext cx="1924594" cy="1920770"/>
            <a:chOff x="4302034" y="4643411"/>
            <a:chExt cx="1924594" cy="1920770"/>
          </a:xfrm>
        </p:grpSpPr>
        <p:pic>
          <p:nvPicPr>
            <p:cNvPr id="23" name="Obraz 22" descr="Zasób 6.png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316184" y="4643411"/>
              <a:ext cx="1910444" cy="192077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24" name="Symbol zastępczy zawartości 33">
              <a:extLst>
                <a:ext uri="{FF2B5EF4-FFF2-40B4-BE49-F238E27FC236}">
                  <a16:creationId xmlns:a16="http://schemas.microsoft.com/office/drawing/2014/main" id="{CBBCC2DC-2621-432D-996C-C130D183622C}"/>
                </a:ext>
              </a:extLst>
            </p:cNvPr>
            <p:cNvSpPr txBox="1">
              <a:spLocks/>
            </p:cNvSpPr>
            <p:nvPr/>
          </p:nvSpPr>
          <p:spPr>
            <a:xfrm>
              <a:off x="4302034" y="4963887"/>
              <a:ext cx="1898469" cy="1277016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/>
            <a:p>
              <a:pPr marL="228594" marR="0" lvl="0" indent="-228594" algn="ctr" defTabSz="914377" rtl="0" eaLnBrk="1" fontAlgn="auto" latinLnBrk="0" hangingPunct="1">
                <a:spcBef>
                  <a:spcPts val="1000"/>
                </a:spcBef>
                <a:spcAft>
                  <a:spcPts val="0"/>
                </a:spcAft>
                <a:buClr>
                  <a:srgbClr val="535459"/>
                </a:buClr>
                <a:buSzTx/>
                <a:tabLst/>
                <a:defRPr/>
              </a:pPr>
              <a:r>
                <a:rPr kumimoji="0" lang="pl-PL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Gotham Book" pitchFamily="50" charset="0"/>
                  <a:cs typeface="Gotham Book" pitchFamily="50" charset="0"/>
                </a:rPr>
                <a:t>Wstaw</a:t>
              </a: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 wizualizację</a:t>
              </a:r>
              <a:br>
                <a:rPr lang="pl-PL" sz="1400" dirty="0">
                  <a:latin typeface="Gotham Book" pitchFamily="50" charset="0"/>
                  <a:cs typeface="Gotham Book" pitchFamily="50" charset="0"/>
                </a:rPr>
              </a:b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Twojej budowy</a:t>
              </a:r>
              <a:endPara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cs typeface="Gotham Book" pitchFamily="50" charset="0"/>
              </a:endParaRPr>
            </a:p>
          </p:txBody>
        </p:sp>
      </p:grp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ole tekstowe 4"/>
          <p:cNvSpPr txBox="1"/>
          <p:nvPr/>
        </p:nvSpPr>
        <p:spPr>
          <a:xfrm>
            <a:off x="266700" y="1943701"/>
            <a:ext cx="4876800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900" dirty="0">
                <a:latin typeface="Arial" pitchFamily="34" charset="0"/>
                <a:cs typeface="Arial" pitchFamily="34" charset="0"/>
              </a:rPr>
              <a:t>Kosze transportowe nie mogą być przeładowane. Podpory szalunkowe należy składować maksymalnie do wysokości stojaka oraz powinny być dodatkowo spięte pasem.</a:t>
            </a:r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78A7E2EB-D54D-4DFB-B186-E1EE0F9A3A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950" y="1510360"/>
            <a:ext cx="3249761" cy="4532400"/>
          </a:xfrm>
          <a:prstGeom prst="rect">
            <a:avLst/>
          </a:prstGeom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2312B269-1F97-40C4-BB6D-E74E18E638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93299" y="1510360"/>
            <a:ext cx="3132000" cy="4532400"/>
          </a:xfrm>
          <a:prstGeom prst="rect">
            <a:avLst/>
          </a:prstGeom>
        </p:spPr>
      </p:pic>
      <p:pic>
        <p:nvPicPr>
          <p:cNvPr id="11" name="Obraz 10" descr="good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6402" y="1657352"/>
            <a:ext cx="742948" cy="742948"/>
          </a:xfrm>
          <a:prstGeom prst="rect">
            <a:avLst/>
          </a:prstGeom>
        </p:spPr>
      </p:pic>
      <p:pic>
        <p:nvPicPr>
          <p:cNvPr id="12" name="Obraz 11" descr="good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9227" y="1657352"/>
            <a:ext cx="742948" cy="742948"/>
          </a:xfrm>
          <a:prstGeom prst="rect">
            <a:avLst/>
          </a:prstGeom>
        </p:spPr>
      </p:pic>
      <p:sp>
        <p:nvSpPr>
          <p:cNvPr id="6" name="Tytuł 35">
            <a:extLst>
              <a:ext uri="{FF2B5EF4-FFF2-40B4-BE49-F238E27FC236}">
                <a16:creationId xmlns:a16="http://schemas.microsoft.com/office/drawing/2014/main" id="{2E9B3A81-02E6-F08B-EF61-1B994AA25A8D}"/>
              </a:ext>
            </a:extLst>
          </p:cNvPr>
          <p:cNvSpPr txBox="1">
            <a:spLocks/>
          </p:cNvSpPr>
          <p:nvPr/>
        </p:nvSpPr>
        <p:spPr>
          <a:xfrm>
            <a:off x="2119311" y="106119"/>
            <a:ext cx="9805987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 – </a:t>
            </a:r>
            <a:r>
              <a:rPr lang="pl-PL" sz="2400" b="1" dirty="0">
                <a:solidFill>
                  <a:srgbClr val="FF0000"/>
                </a:solidFill>
                <a:latin typeface="Arial Nova Cond" panose="020B0506020202020204" pitchFamily="34" charset="0"/>
              </a:rPr>
              <a:t>niebezpieczne praktyki</a:t>
            </a: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>
            <a:extLst>
              <a:ext uri="{FF2B5EF4-FFF2-40B4-BE49-F238E27FC236}">
                <a16:creationId xmlns:a16="http://schemas.microsoft.com/office/drawing/2014/main" id="{1E28C4EB-7FDC-4675-A7B7-29C1FB6572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62925" y="1299459"/>
            <a:ext cx="3762374" cy="4743301"/>
          </a:xfrm>
          <a:prstGeom prst="rect">
            <a:avLst/>
          </a:prstGeom>
        </p:spPr>
      </p:pic>
      <p:sp>
        <p:nvSpPr>
          <p:cNvPr id="4" name="pole tekstowe 3"/>
          <p:cNvSpPr txBox="1"/>
          <p:nvPr/>
        </p:nvSpPr>
        <p:spPr>
          <a:xfrm>
            <a:off x="266700" y="1943701"/>
            <a:ext cx="5438776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900" dirty="0">
                <a:latin typeface="Arial" pitchFamily="34" charset="0"/>
                <a:cs typeface="Arial" pitchFamily="34" charset="0"/>
              </a:rPr>
              <a:t>Ze względu na ryzyko odpadania na wysokości poszczególnych elementów, </a:t>
            </a:r>
            <a:r>
              <a:rPr lang="pl-PL" sz="1900" b="1" dirty="0">
                <a:latin typeface="Arial" pitchFamily="34" charset="0"/>
                <a:cs typeface="Arial" pitchFamily="34" charset="0"/>
              </a:rPr>
              <a:t>zabroniony jest transport żurawiem w całości lekkich wieżowych rusztowań jezdnych</a:t>
            </a:r>
            <a:r>
              <a:rPr lang="pl-PL" sz="1900" dirty="0">
                <a:latin typeface="Arial" pitchFamily="34" charset="0"/>
                <a:cs typeface="Arial" pitchFamily="34" charset="0"/>
              </a:rPr>
              <a:t>. Jedynym wyjątkiem jest sytuacja, gdy dopuszcza taką możliwość producent i jest to ujęte w DTR.</a:t>
            </a:r>
          </a:p>
        </p:txBody>
      </p:sp>
      <p:pic>
        <p:nvPicPr>
          <p:cNvPr id="10" name="Obraz 9" descr="goo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43902" y="1457327"/>
            <a:ext cx="742948" cy="742948"/>
          </a:xfrm>
          <a:prstGeom prst="rect">
            <a:avLst/>
          </a:prstGeom>
        </p:spPr>
      </p:pic>
      <p:sp>
        <p:nvSpPr>
          <p:cNvPr id="7" name="Tytuł 35">
            <a:extLst>
              <a:ext uri="{FF2B5EF4-FFF2-40B4-BE49-F238E27FC236}">
                <a16:creationId xmlns:a16="http://schemas.microsoft.com/office/drawing/2014/main" id="{A268537D-91D7-3252-7EB5-D6163062DDC2}"/>
              </a:ext>
            </a:extLst>
          </p:cNvPr>
          <p:cNvSpPr txBox="1">
            <a:spLocks/>
          </p:cNvSpPr>
          <p:nvPr/>
        </p:nvSpPr>
        <p:spPr>
          <a:xfrm>
            <a:off x="2119311" y="106119"/>
            <a:ext cx="9805987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 – </a:t>
            </a:r>
            <a:r>
              <a:rPr lang="pl-PL" sz="2400" b="1" dirty="0">
                <a:solidFill>
                  <a:srgbClr val="FF0000"/>
                </a:solidFill>
                <a:latin typeface="Arial Nova Cond" panose="020B0506020202020204" pitchFamily="34" charset="0"/>
              </a:rPr>
              <a:t>niebezpieczne praktyki</a:t>
            </a: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ole tekstowe 3"/>
          <p:cNvSpPr txBox="1"/>
          <p:nvPr/>
        </p:nvSpPr>
        <p:spPr>
          <a:xfrm>
            <a:off x="266700" y="1391251"/>
            <a:ext cx="4171950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900" dirty="0">
                <a:latin typeface="Arial" pitchFamily="34" charset="0"/>
                <a:cs typeface="Arial" pitchFamily="34" charset="0"/>
              </a:rPr>
              <a:t>Transport szalunków powinien odbywać się zgodnie </a:t>
            </a:r>
            <a:r>
              <a:rPr lang="pl-PL" sz="1900" b="1" dirty="0">
                <a:latin typeface="Arial" pitchFamily="34" charset="0"/>
                <a:cs typeface="Arial" pitchFamily="34" charset="0"/>
              </a:rPr>
              <a:t>z zaleceniami producenta deskowań</a:t>
            </a:r>
            <a:r>
              <a:rPr lang="pl-PL" sz="1900" dirty="0">
                <a:latin typeface="Arial" pitchFamily="34" charset="0"/>
                <a:cs typeface="Arial" pitchFamily="34" charset="0"/>
              </a:rPr>
              <a:t>.</a:t>
            </a:r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B835DDBD-0E67-4C8C-9221-E1EA9AA02C5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59" r="-179"/>
          <a:stretch/>
        </p:blipFill>
        <p:spPr>
          <a:xfrm>
            <a:off x="7896686" y="1449898"/>
            <a:ext cx="4028613" cy="4532376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BB6FF810-4909-4EBC-996B-94F4869A7D4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" t="-4"/>
          <a:stretch/>
        </p:blipFill>
        <p:spPr>
          <a:xfrm>
            <a:off x="4488426" y="1459381"/>
            <a:ext cx="3215148" cy="4500000"/>
          </a:xfrm>
          <a:prstGeom prst="rect">
            <a:avLst/>
          </a:prstGeom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0DF145D6-D88E-4402-9ECE-D3E1E3B55004}"/>
              </a:ext>
            </a:extLst>
          </p:cNvPr>
          <p:cNvPicPr preferRelativeResize="0">
            <a:picLocks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7175" y="2506218"/>
            <a:ext cx="4124325" cy="3475805"/>
          </a:xfrm>
          <a:prstGeom prst="rect">
            <a:avLst/>
          </a:prstGeom>
        </p:spPr>
      </p:pic>
      <p:sp>
        <p:nvSpPr>
          <p:cNvPr id="9" name="Tytuł 35">
            <a:extLst>
              <a:ext uri="{FF2B5EF4-FFF2-40B4-BE49-F238E27FC236}">
                <a16:creationId xmlns:a16="http://schemas.microsoft.com/office/drawing/2014/main" id="{D88AA690-3852-791F-FB10-023858C41E8C}"/>
              </a:ext>
            </a:extLst>
          </p:cNvPr>
          <p:cNvSpPr txBox="1">
            <a:spLocks/>
          </p:cNvSpPr>
          <p:nvPr/>
        </p:nvSpPr>
        <p:spPr>
          <a:xfrm>
            <a:off x="2041452" y="139013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</a:t>
            </a: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698" y="3836988"/>
            <a:ext cx="11715751" cy="230663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28594" lvl="0" indent="-228594" defTabSz="914377">
              <a:lnSpc>
                <a:spcPct val="150000"/>
              </a:lnSpc>
              <a:spcBef>
                <a:spcPct val="30000"/>
              </a:spcBef>
            </a:pPr>
            <a:r>
              <a:rPr lang="pl-PL" b="1" u="sng" dirty="0">
                <a:uFill>
                  <a:solidFill>
                    <a:srgbClr val="FB3162"/>
                  </a:solidFill>
                </a:uFill>
                <a:latin typeface="Arial" pitchFamily="34" charset="0"/>
                <a:cs typeface="Arial" pitchFamily="34" charset="0"/>
              </a:rPr>
              <a:t>Utrata stateczności i przewrócenie żurawia</a:t>
            </a:r>
          </a:p>
          <a:p>
            <a:pPr marL="228594" lvl="0" indent="-228594" defTabSz="914377">
              <a:lnSpc>
                <a:spcPct val="150000"/>
              </a:lnSpc>
              <a:spcBef>
                <a:spcPct val="30000"/>
              </a:spcBef>
            </a:pPr>
            <a:r>
              <a:rPr lang="pl-PL" dirty="0">
                <a:uFill>
                  <a:solidFill>
                    <a:srgbClr val="FB3162"/>
                  </a:solidFill>
                </a:uFill>
                <a:latin typeface="Arial" pitchFamily="34" charset="0"/>
                <a:cs typeface="Arial" pitchFamily="34" charset="0"/>
              </a:rPr>
              <a:t>Takie zagrożenie może być następstwem: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dirty="0">
                <a:latin typeface="Arial" pitchFamily="34" charset="0"/>
                <a:cs typeface="Arial" pitchFamily="34" charset="0"/>
              </a:rPr>
              <a:t>Złego posadowienia żurawia np. braku podkładów pod podpory na nieutwardzonym, słabym podłożu, </a:t>
            </a:r>
            <a:br>
              <a:rPr lang="pl-PL" dirty="0">
                <a:latin typeface="Arial" pitchFamily="34" charset="0"/>
                <a:cs typeface="Arial" pitchFamily="34" charset="0"/>
              </a:rPr>
            </a:br>
            <a:r>
              <a:rPr lang="pl-PL" dirty="0">
                <a:latin typeface="Arial" pitchFamily="34" charset="0"/>
                <a:cs typeface="Arial" pitchFamily="34" charset="0"/>
              </a:rPr>
              <a:t>bez zastosowania podkładów,</a:t>
            </a:r>
            <a:endParaRPr kumimoji="0" lang="pl-PL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dirty="0">
                <a:latin typeface="Arial" pitchFamily="34" charset="0"/>
                <a:cs typeface="Arial" pitchFamily="34" charset="0"/>
              </a:rPr>
              <a:t>Podnoszenia przyciśniętego, zablokowanego materiału (np. zmrożenie z podłożem, zakleszczenie z innym składowanym materiałem).</a:t>
            </a:r>
          </a:p>
          <a:p>
            <a:pPr marL="228594" lvl="0" indent="-228594" defTabSz="914377">
              <a:spcBef>
                <a:spcPct val="30000"/>
              </a:spcBef>
              <a:buFont typeface="Arial" pitchFamily="34" charset="0"/>
              <a:buChar char="•"/>
            </a:pPr>
            <a:endParaRPr kumimoji="0" lang="en-US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7D528B8D-1FDE-47C0-B892-F2A63A7F15D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7175" y="1249062"/>
            <a:ext cx="3413923" cy="2502496"/>
          </a:xfrm>
          <a:prstGeom prst="rect">
            <a:avLst/>
          </a:prstGeom>
          <a:ln w="57150">
            <a:noFill/>
          </a:ln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31D17D60-5207-4860-8438-F4F22F051E4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3894" y="1257651"/>
            <a:ext cx="3216169" cy="2485674"/>
          </a:xfrm>
          <a:prstGeom prst="rect">
            <a:avLst/>
          </a:prstGeom>
          <a:ln w="57150">
            <a:noFill/>
          </a:ln>
        </p:spPr>
      </p:pic>
      <p:pic>
        <p:nvPicPr>
          <p:cNvPr id="8" name="Obraz 7" descr="Obraz zawierający zewnętrzne, niebo, drzewo, podłoże&#10;&#10;Opis wygenerowany przy bardzo wysokim poziomie pewności">
            <a:extLst>
              <a:ext uri="{FF2B5EF4-FFF2-40B4-BE49-F238E27FC236}">
                <a16:creationId xmlns:a16="http://schemas.microsoft.com/office/drawing/2014/main" id="{EC19DE33-C89F-4636-B01E-88C58149CCF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2025" y="1242466"/>
            <a:ext cx="3343274" cy="2507456"/>
          </a:xfrm>
          <a:prstGeom prst="rect">
            <a:avLst/>
          </a:prstGeom>
          <a:ln w="57150">
            <a:noFill/>
          </a:ln>
        </p:spPr>
      </p:pic>
      <p:pic>
        <p:nvPicPr>
          <p:cNvPr id="13" name="Obraz 12" descr="good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71777" y="1362077"/>
            <a:ext cx="742948" cy="742948"/>
          </a:xfrm>
          <a:prstGeom prst="rect">
            <a:avLst/>
          </a:prstGeom>
        </p:spPr>
      </p:pic>
      <p:pic>
        <p:nvPicPr>
          <p:cNvPr id="14" name="Obraz 13" descr="good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2752" y="1362077"/>
            <a:ext cx="742948" cy="742948"/>
          </a:xfrm>
          <a:prstGeom prst="rect">
            <a:avLst/>
          </a:prstGeom>
        </p:spPr>
      </p:pic>
      <p:pic>
        <p:nvPicPr>
          <p:cNvPr id="15" name="Obraz 14" descr="good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102" y="1362077"/>
            <a:ext cx="742948" cy="742948"/>
          </a:xfrm>
          <a:prstGeom prst="rect">
            <a:avLst/>
          </a:prstGeom>
        </p:spPr>
      </p:pic>
      <p:sp>
        <p:nvSpPr>
          <p:cNvPr id="10" name="Tytuł 35">
            <a:extLst>
              <a:ext uri="{FF2B5EF4-FFF2-40B4-BE49-F238E27FC236}">
                <a16:creationId xmlns:a16="http://schemas.microsoft.com/office/drawing/2014/main" id="{0BA1A831-4A18-6473-ABFE-D7A716391615}"/>
              </a:ext>
            </a:extLst>
          </p:cNvPr>
          <p:cNvSpPr txBox="1">
            <a:spLocks/>
          </p:cNvSpPr>
          <p:nvPr/>
        </p:nvSpPr>
        <p:spPr>
          <a:xfrm>
            <a:off x="2041452" y="139013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</a:t>
            </a: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ttp://www.kursy-wielun.pl/images/w12.jpg">
            <a:extLst>
              <a:ext uri="{FF2B5EF4-FFF2-40B4-BE49-F238E27FC236}">
                <a16:creationId xmlns:a16="http://schemas.microsoft.com/office/drawing/2014/main" id="{7209579F-58B4-4AD0-B470-92841D3DF9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5826" y="1976844"/>
            <a:ext cx="2752354" cy="3617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ytuł 1">
            <a:extLst>
              <a:ext uri="{FF2B5EF4-FFF2-40B4-BE49-F238E27FC236}">
                <a16:creationId xmlns:a16="http://schemas.microsoft.com/office/drawing/2014/main" id="{33173972-52C7-4DC9-A1A6-4A73185E88A2}"/>
              </a:ext>
            </a:extLst>
          </p:cNvPr>
          <p:cNvSpPr txBox="1">
            <a:spLocks/>
          </p:cNvSpPr>
          <p:nvPr/>
        </p:nvSpPr>
        <p:spPr>
          <a:xfrm>
            <a:off x="847470" y="2517408"/>
            <a:ext cx="2752354" cy="2709275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74625" cmpd="thinThick">
            <a:solidFill>
              <a:schemeClr val="tx1">
                <a:lumMod val="85000"/>
                <a:lumOff val="15000"/>
              </a:schemeClr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Urząd Dozoru Technicznego</a:t>
            </a:r>
            <a:b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prawdzanie kwalifikacji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6" name="Obraz 5" descr="Obraz zawierający tekst, wizytówka&#10;&#10;Opis wygenerowany przy wysokim poziomie pewności">
            <a:extLst>
              <a:ext uri="{FF2B5EF4-FFF2-40B4-BE49-F238E27FC236}">
                <a16:creationId xmlns:a16="http://schemas.microsoft.com/office/drawing/2014/main" id="{BEC888BD-37F6-435F-8319-FE21BD38AF8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8601" y="3550628"/>
            <a:ext cx="3925520" cy="2464354"/>
          </a:xfrm>
          <a:prstGeom prst="rect">
            <a:avLst/>
          </a:prstGeom>
        </p:spPr>
      </p:pic>
      <p:pic>
        <p:nvPicPr>
          <p:cNvPr id="7" name="Obraz 6" descr="Obraz zawierający tekst&#10;&#10;Opis wygenerowany przy bardzo wysokim poziomie pewności">
            <a:extLst>
              <a:ext uri="{FF2B5EF4-FFF2-40B4-BE49-F238E27FC236}">
                <a16:creationId xmlns:a16="http://schemas.microsoft.com/office/drawing/2014/main" id="{1E7F4AA8-FF20-4A9C-B5BE-0ACBFDC19DB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022859" y="905975"/>
            <a:ext cx="3578591" cy="2396025"/>
          </a:xfrm>
          <a:prstGeom prst="rect">
            <a:avLst/>
          </a:prstGeom>
          <a:effectLst/>
        </p:spPr>
      </p:pic>
      <p:sp>
        <p:nvSpPr>
          <p:cNvPr id="9" name="Tytuł 35">
            <a:extLst>
              <a:ext uri="{FF2B5EF4-FFF2-40B4-BE49-F238E27FC236}">
                <a16:creationId xmlns:a16="http://schemas.microsoft.com/office/drawing/2014/main" id="{CC79E7FC-0AC3-9C55-E3F7-4A081584BC7A}"/>
              </a:ext>
            </a:extLst>
          </p:cNvPr>
          <p:cNvSpPr txBox="1">
            <a:spLocks/>
          </p:cNvSpPr>
          <p:nvPr/>
        </p:nvSpPr>
        <p:spPr>
          <a:xfrm>
            <a:off x="2041452" y="139013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ytuł 1">
            <a:extLst>
              <a:ext uri="{FF2B5EF4-FFF2-40B4-BE49-F238E27FC236}">
                <a16:creationId xmlns:a16="http://schemas.microsoft.com/office/drawing/2014/main" id="{128CD28C-8C24-459C-851B-829A5C2CB86E}"/>
              </a:ext>
            </a:extLst>
          </p:cNvPr>
          <p:cNvSpPr txBox="1">
            <a:spLocks/>
          </p:cNvSpPr>
          <p:nvPr/>
        </p:nvSpPr>
        <p:spPr>
          <a:xfrm>
            <a:off x="266700" y="2616194"/>
            <a:ext cx="7675179" cy="58711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Komunikacja Sygnalista Operator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BA708893-4585-46D6-8ECD-CA3C5F321E7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3642" y="189688"/>
            <a:ext cx="2796474" cy="3238022"/>
          </a:xfrm>
          <a:prstGeom prst="rect">
            <a:avLst/>
          </a:prstGeom>
        </p:spPr>
      </p:pic>
      <p:sp>
        <p:nvSpPr>
          <p:cNvPr id="7" name="Rectangle 3">
            <a:extLst>
              <a:ext uri="{FF2B5EF4-FFF2-40B4-BE49-F238E27FC236}">
                <a16:creationId xmlns:a16="http://schemas.microsoft.com/office/drawing/2014/main" id="{B0FDC6FF-CF29-47BD-AD1F-968AC4DAE4F9}"/>
              </a:ext>
            </a:extLst>
          </p:cNvPr>
          <p:cNvSpPr txBox="1">
            <a:spLocks noChangeArrowheads="1"/>
          </p:cNvSpPr>
          <p:nvPr/>
        </p:nvSpPr>
        <p:spPr>
          <a:xfrm>
            <a:off x="266700" y="3768834"/>
            <a:ext cx="11715751" cy="230663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 defTabSz="914377">
              <a:spcBef>
                <a:spcPct val="30000"/>
              </a:spcBef>
            </a:pPr>
            <a:r>
              <a:rPr kumimoji="0" lang="en-US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§</a:t>
            </a: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7.1. Sygnalista i operator żurawia w trakcie pracy żurawia komunikują się w sposób zrozumiały </a:t>
            </a:r>
            <a:r>
              <a:rPr kumimoji="0" lang="pl-PL" alt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za pomocą urządzenia komunikacyjnego,</a:t>
            </a:r>
          </a:p>
          <a:p>
            <a:pPr lvl="0" defTabSz="914377">
              <a:spcBef>
                <a:spcPct val="30000"/>
              </a:spcBef>
            </a:pPr>
            <a:r>
              <a:rPr lang="pl-PL" alt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W przypadku awarii urządzenia komunikacyjnego […] sygnalista porozumiewa się operatorem żurawia przy użyciu sygnałów ręcznych (sygnały ręczne stanowią załącznik nr 1 do </a:t>
            </a:r>
            <a:r>
              <a:rPr lang="pl-PL" alt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zp</a:t>
            </a:r>
            <a:r>
              <a:rPr lang="pl-PL" alt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Ministra Pracy i Polityki Socjalnej z dn. 26/09/1997r. </a:t>
            </a:r>
            <a:r>
              <a:rPr lang="pl-PL" alt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s</a:t>
            </a:r>
            <a:r>
              <a:rPr lang="pl-PL" alt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ogólnych przepisów BHP) </a:t>
            </a:r>
            <a:r>
              <a:rPr lang="pl-PL" altLang="en-US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e dłużej niż do zakończenia rozpoczętej czynności.</a:t>
            </a:r>
            <a:endParaRPr kumimoji="0" lang="en-US" altLang="en-US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8" name="Tytuł 35">
            <a:extLst>
              <a:ext uri="{FF2B5EF4-FFF2-40B4-BE49-F238E27FC236}">
                <a16:creationId xmlns:a16="http://schemas.microsoft.com/office/drawing/2014/main" id="{5312B3E1-17EE-9A05-3641-D242E5EAAA56}"/>
              </a:ext>
            </a:extLst>
          </p:cNvPr>
          <p:cNvSpPr txBox="1">
            <a:spLocks/>
          </p:cNvSpPr>
          <p:nvPr/>
        </p:nvSpPr>
        <p:spPr>
          <a:xfrm>
            <a:off x="2041452" y="139013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</a:t>
            </a: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700" y="2418935"/>
            <a:ext cx="7899105" cy="101006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defTabSz="914377">
              <a:spcBef>
                <a:spcPct val="30000"/>
              </a:spcBef>
            </a:pPr>
            <a:r>
              <a:rPr lang="pl-PL" sz="2000" dirty="0">
                <a:latin typeface="Arial" pitchFamily="34" charset="0"/>
                <a:cs typeface="Arial" pitchFamily="34" charset="0"/>
              </a:rPr>
              <a:t>§6. Niedopuszczalne jest wykonywanie przez jedną osobę jednocześnie czynności operatora żurawia, sygnalisty lub hakowego.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sz="2000" dirty="0">
                <a:latin typeface="Arial" pitchFamily="34" charset="0"/>
                <a:cs typeface="Arial" pitchFamily="34" charset="0"/>
              </a:rPr>
              <a:t>Sygnalista - obserwacja ładunku i otoczenia, kontakt z operatorem żurawia;</a:t>
            </a:r>
            <a:endParaRPr kumimoji="0" lang="pl-PL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sz="2000" dirty="0">
                <a:latin typeface="Arial" panose="020B0604020202020204" pitchFamily="34" charset="0"/>
                <a:cs typeface="Arial" pitchFamily="34" charset="0"/>
              </a:rPr>
              <a:t>Hakowy - podpinanie, prowadzenie (linka) ładunku, odpinanie.</a:t>
            </a:r>
            <a:endParaRPr lang="pl-PL" altLang="en-US" sz="2000" dirty="0"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9" name="Tytuł 1">
            <a:extLst>
              <a:ext uri="{FF2B5EF4-FFF2-40B4-BE49-F238E27FC236}">
                <a16:creationId xmlns:a16="http://schemas.microsoft.com/office/drawing/2014/main" id="{128CD28C-8C24-459C-851B-829A5C2CB86E}"/>
              </a:ext>
            </a:extLst>
          </p:cNvPr>
          <p:cNvSpPr txBox="1">
            <a:spLocks/>
          </p:cNvSpPr>
          <p:nvPr/>
        </p:nvSpPr>
        <p:spPr>
          <a:xfrm>
            <a:off x="266700" y="1384672"/>
            <a:ext cx="7675179" cy="58711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 defTabSz="914377">
              <a:spcBef>
                <a:spcPct val="0"/>
              </a:spcBef>
            </a:pPr>
            <a:r>
              <a:rPr lang="pl-PL" sz="2200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Rozdzielenie</a:t>
            </a:r>
            <a:r>
              <a:rPr lang="pl-PL" sz="2200" dirty="0">
                <a:latin typeface="Arial" pitchFamily="34" charset="0"/>
                <a:cs typeface="Arial" pitchFamily="34" charset="0"/>
              </a:rPr>
              <a:t> funkcji sygnalisty i hakowego</a:t>
            </a:r>
            <a:endParaRPr kumimoji="0" lang="pl-PL" sz="2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pic>
        <p:nvPicPr>
          <p:cNvPr id="11" name="Obraz 10" descr="Obraz zawierający niebo, zewnętrzne, podłoże, ciężarówka&#10;&#10;Opis wygenerowany automatycznie">
            <a:extLst>
              <a:ext uri="{FF2B5EF4-FFF2-40B4-BE49-F238E27FC236}">
                <a16:creationId xmlns:a16="http://schemas.microsoft.com/office/drawing/2014/main" id="{9A9B97FD-BD6F-4610-987B-BD73D3A18BD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56874" y="518206"/>
            <a:ext cx="2693242" cy="2910793"/>
          </a:xfrm>
          <a:prstGeom prst="rect">
            <a:avLst/>
          </a:prstGeom>
        </p:spPr>
      </p:pic>
      <p:sp>
        <p:nvSpPr>
          <p:cNvPr id="5" name="Tytuł 35">
            <a:extLst>
              <a:ext uri="{FF2B5EF4-FFF2-40B4-BE49-F238E27FC236}">
                <a16:creationId xmlns:a16="http://schemas.microsoft.com/office/drawing/2014/main" id="{511C4112-8EFA-8873-B29C-E54C5AD8B89B}"/>
              </a:ext>
            </a:extLst>
          </p:cNvPr>
          <p:cNvSpPr txBox="1">
            <a:spLocks/>
          </p:cNvSpPr>
          <p:nvPr/>
        </p:nvSpPr>
        <p:spPr>
          <a:xfrm>
            <a:off x="2041452" y="139013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</a:t>
            </a: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698" y="1637443"/>
            <a:ext cx="11579090" cy="2542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sz="2000" dirty="0">
                <a:latin typeface="Arial" pitchFamily="34" charset="0"/>
                <a:cs typeface="Arial" pitchFamily="34" charset="0"/>
              </a:rPr>
              <a:t>Poruszanie się pracowników wyznaczonymi ciągami pieszymi;</a:t>
            </a:r>
            <a:endParaRPr kumimoji="0" lang="pl-PL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sz="2000" dirty="0">
                <a:latin typeface="Arial" pitchFamily="34" charset="0"/>
                <a:cs typeface="Arial" pitchFamily="34" charset="0"/>
              </a:rPr>
              <a:t>Zapewnienie osoby koordynującej manewr cofania (osoba kierująca ruchem);</a:t>
            </a:r>
            <a:endParaRPr kumimoji="0" lang="en-US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sz="2000" dirty="0">
                <a:latin typeface="Arial" pitchFamily="34" charset="0"/>
                <a:cs typeface="Arial" pitchFamily="34" charset="0"/>
              </a:rPr>
              <a:t>Wyposażenie pojazdów w sygnały cofania.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240CA312-465F-4979-BCC6-FCFF0C6F1B1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7377" y="3225321"/>
            <a:ext cx="4763069" cy="2918236"/>
          </a:xfrm>
          <a:prstGeom prst="rect">
            <a:avLst/>
          </a:prstGeom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2A2AD45B-C12A-42F5-B020-7709BC1D45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6212" y="3204108"/>
            <a:ext cx="4034401" cy="293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ytuł 35">
            <a:extLst>
              <a:ext uri="{FF2B5EF4-FFF2-40B4-BE49-F238E27FC236}">
                <a16:creationId xmlns:a16="http://schemas.microsoft.com/office/drawing/2014/main" id="{984F0FF8-711F-59D3-A85C-3E5E32CB39D7}"/>
              </a:ext>
            </a:extLst>
          </p:cNvPr>
          <p:cNvSpPr txBox="1">
            <a:spLocks/>
          </p:cNvSpPr>
          <p:nvPr/>
        </p:nvSpPr>
        <p:spPr>
          <a:xfrm>
            <a:off x="212967" y="714442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Ruch kołowy na budowie</a:t>
            </a: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698" y="1637443"/>
            <a:ext cx="8172451" cy="39251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szyscy operatorzy sprzętu ciężkiego muszą być przeszkoleni </a:t>
            </a:r>
            <a:b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raz posiadać aktualne licencje zawodowe</a:t>
            </a:r>
            <a:r>
              <a:rPr kumimoji="0" lang="pl-PL" altLang="en-US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;</a:t>
            </a:r>
            <a:endParaRPr kumimoji="0" lang="pl-PL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ie wolno naprawiać sprzętu jeśli nie jest się kompetentnym </a:t>
            </a:r>
            <a:b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raz przeszkolonym w tym zakresie;</a:t>
            </a:r>
            <a:endParaRPr kumimoji="0" lang="en-US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Światło ostrzegawcze (kogut) musi być zainstalowany na sprzęcie poruszającym się po placu budowy;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soby kierujące ruchem muszą być przeszkoleni i kompetentni</a:t>
            </a:r>
            <a:r>
              <a:rPr lang="pl-PL" altLang="en-US" dirty="0">
                <a:latin typeface="Arial" pitchFamily="34" charset="0"/>
                <a:cs typeface="Arial" pitchFamily="34" charset="0"/>
              </a:rPr>
              <a:t>;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Zawsze należy upewnić się że operator jest z Tobą w kontakcie wzrokowym </a:t>
            </a:r>
            <a:endParaRPr lang="en-GB" altLang="en-US" dirty="0"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ie należy używać nie swojego sprzętu </a:t>
            </a:r>
            <a:r>
              <a:rPr lang="pl-PL" altLang="en-US" dirty="0">
                <a:latin typeface="Arial" pitchFamily="34" charset="0"/>
                <a:cs typeface="Arial" pitchFamily="34" charset="0"/>
              </a:rPr>
              <a:t>;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ie wolno wchodzić w strefy niebezpieczne, gdzie można zostać zgniecionym pomiędzy sprzętem, budynkiem czy innymi obiektami;</a:t>
            </a:r>
            <a:endParaRPr lang="en-GB" alt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endParaRPr kumimoji="0" lang="en-GB" altLang="en-US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Obraz 4" descr="Obraz zawierający zewnętrzne, niebo, śnieg, budynek&#10;&#10;Opis wygenerowany automatycznie">
            <a:extLst>
              <a:ext uri="{FF2B5EF4-FFF2-40B4-BE49-F238E27FC236}">
                <a16:creationId xmlns:a16="http://schemas.microsoft.com/office/drawing/2014/main" id="{DCAEA094-6348-487D-AE02-24A396A9A05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8211700" y="1996264"/>
            <a:ext cx="4135257" cy="3101443"/>
          </a:xfrm>
          <a:prstGeom prst="rect">
            <a:avLst/>
          </a:prstGeom>
        </p:spPr>
      </p:pic>
      <p:sp>
        <p:nvSpPr>
          <p:cNvPr id="7" name="Tytuł 35">
            <a:extLst>
              <a:ext uri="{FF2B5EF4-FFF2-40B4-BE49-F238E27FC236}">
                <a16:creationId xmlns:a16="http://schemas.microsoft.com/office/drawing/2014/main" id="{25AF27AA-DF36-6C5C-D8EB-1E2A4874251B}"/>
              </a:ext>
            </a:extLst>
          </p:cNvPr>
          <p:cNvSpPr txBox="1">
            <a:spLocks/>
          </p:cNvSpPr>
          <p:nvPr/>
        </p:nvSpPr>
        <p:spPr>
          <a:xfrm>
            <a:off x="382773" y="742393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Sprzęt ciężki</a:t>
            </a:r>
          </a:p>
        </p:txBody>
      </p:sp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699" y="1523143"/>
            <a:ext cx="6276975" cy="24011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sz="2000" dirty="0">
                <a:latin typeface="Arial" pitchFamily="34" charset="0"/>
                <a:cs typeface="Arial" pitchFamily="34" charset="0"/>
              </a:rPr>
              <a:t>Wymagane pozwolenie</a:t>
            </a:r>
            <a:r>
              <a:rPr lang="pl-PL" sz="2000" dirty="0">
                <a:latin typeface="Arial" pitchFamily="34" charset="0"/>
                <a:cs typeface="Arial" pitchFamily="34" charset="0"/>
              </a:rPr>
              <a:t>;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sz="2000" dirty="0">
                <a:latin typeface="Arial" pitchFamily="34" charset="0"/>
                <a:cs typeface="Arial" pitchFamily="34" charset="0"/>
              </a:rPr>
              <a:t>Usunięcie/zabezpieczenie materiałów palnych</a:t>
            </a:r>
            <a:r>
              <a:rPr lang="pl-PL" sz="2000" dirty="0">
                <a:latin typeface="Arial" pitchFamily="34" charset="0"/>
                <a:cs typeface="Arial" pitchFamily="34" charset="0"/>
              </a:rPr>
              <a:t>;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sz="2000" dirty="0">
                <a:latin typeface="Arial" pitchFamily="34" charset="0"/>
                <a:cs typeface="Arial" pitchFamily="34" charset="0"/>
              </a:rPr>
              <a:t>Zapewnienie gaśnicy i koca gaśniczego.</a:t>
            </a:r>
            <a:endParaRPr lang="pl-PL" altLang="en-US" sz="2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Obraz 6" descr="Obraz zawierający ściana, wewnątrz, stół&#10;&#10;Opis wygenerowany przy bardzo wysokim poziomie pewności">
            <a:extLst>
              <a:ext uri="{FF2B5EF4-FFF2-40B4-BE49-F238E27FC236}">
                <a16:creationId xmlns:a16="http://schemas.microsoft.com/office/drawing/2014/main" id="{AE43C17A-418B-4409-A8F8-97312E95D4F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6213" y="2973833"/>
            <a:ext cx="3059460" cy="3169724"/>
          </a:xfrm>
          <a:prstGeom prst="rect">
            <a:avLst/>
          </a:prstGeom>
          <a:effectLst/>
        </p:spPr>
      </p:pic>
      <p:pic>
        <p:nvPicPr>
          <p:cNvPr id="6" name="Picture 2" descr="http://static1.money.pl/i/technologie/uokik/140/9/789132_0.jpg">
            <a:extLst>
              <a:ext uri="{FF2B5EF4-FFF2-40B4-BE49-F238E27FC236}">
                <a16:creationId xmlns:a16="http://schemas.microsoft.com/office/drawing/2014/main" id="{0265B997-52FF-4DD2-ADD8-3F7D3C782E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82954" y="2973833"/>
            <a:ext cx="3944425" cy="31697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Obraz 2">
            <a:extLst>
              <a:ext uri="{FF2B5EF4-FFF2-40B4-BE49-F238E27FC236}">
                <a16:creationId xmlns:a16="http://schemas.microsoft.com/office/drawing/2014/main" id="{3D944411-2532-458A-B72E-37A571536D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73186" y="167951"/>
            <a:ext cx="4240753" cy="5975606"/>
          </a:xfrm>
          <a:prstGeom prst="rect">
            <a:avLst/>
          </a:prstGeom>
        </p:spPr>
      </p:pic>
      <p:sp>
        <p:nvSpPr>
          <p:cNvPr id="9" name="Tytuł 35">
            <a:extLst>
              <a:ext uri="{FF2B5EF4-FFF2-40B4-BE49-F238E27FC236}">
                <a16:creationId xmlns:a16="http://schemas.microsoft.com/office/drawing/2014/main" id="{C18D1A6E-D38B-6C8E-894A-86603BA6622A}"/>
              </a:ext>
            </a:extLst>
          </p:cNvPr>
          <p:cNvSpPr txBox="1">
            <a:spLocks/>
          </p:cNvSpPr>
          <p:nvPr/>
        </p:nvSpPr>
        <p:spPr>
          <a:xfrm>
            <a:off x="296305" y="714443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Prace pożarowo-niebezpieczne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stokąt 1">
            <a:extLst>
              <a:ext uri="{FF2B5EF4-FFF2-40B4-BE49-F238E27FC236}">
                <a16:creationId xmlns:a16="http://schemas.microsoft.com/office/drawing/2014/main" id="{82E404CB-4913-0C7F-12EC-D47A17CDA3FE}"/>
              </a:ext>
            </a:extLst>
          </p:cNvPr>
          <p:cNvSpPr/>
          <p:nvPr/>
        </p:nvSpPr>
        <p:spPr>
          <a:xfrm>
            <a:off x="3618016" y="669767"/>
            <a:ext cx="8573984" cy="56764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>
          <a:xfrm>
            <a:off x="8340783" y="143345"/>
            <a:ext cx="11658599" cy="736964"/>
          </a:xfrm>
        </p:spPr>
        <p:txBody>
          <a:bodyPr>
            <a:normAutofit/>
          </a:bodyPr>
          <a:lstStyle/>
          <a:p>
            <a:pPr lvl="0"/>
            <a:r>
              <a:rPr lang="pl-PL" sz="2200" b="1" dirty="0">
                <a:latin typeface="Arial" panose="020B0604020202020204" pitchFamily="34" charset="0"/>
                <a:cs typeface="Arial" panose="020B0604020202020204" pitchFamily="34" charset="0"/>
              </a:rPr>
              <a:t>Nasze wartości | </a:t>
            </a:r>
            <a:r>
              <a:rPr lang="pl-PL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</a:t>
            </a:r>
            <a:r>
              <a:rPr lang="pl-PL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es</a:t>
            </a:r>
            <a:endParaRPr lang="pl-PL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C27E432A-F888-6A63-6592-2856FDFFA67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lum bright="40000" contrast="-20000"/>
          </a:blip>
          <a:srcRect l="19640" t="7823" r="26401" b="3172"/>
          <a:stretch/>
        </p:blipFill>
        <p:spPr>
          <a:xfrm>
            <a:off x="0" y="669767"/>
            <a:ext cx="3851219" cy="5684108"/>
          </a:xfrm>
          <a:prstGeom prst="rect">
            <a:avLst/>
          </a:prstGeom>
        </p:spPr>
      </p:pic>
      <p:sp>
        <p:nvSpPr>
          <p:cNvPr id="21" name="pole tekstowe 20"/>
          <p:cNvSpPr txBox="1"/>
          <p:nvPr/>
        </p:nvSpPr>
        <p:spPr>
          <a:xfrm>
            <a:off x="3851219" y="669767"/>
            <a:ext cx="8340781" cy="57246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#1</a:t>
            </a:r>
            <a:r>
              <a:rPr lang="pl-PL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 </a:t>
            </a:r>
            <a:r>
              <a:rPr lang="pl-PL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espół</a:t>
            </a:r>
          </a:p>
          <a:p>
            <a:r>
              <a:rPr lang="pl-PL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Gramy razem na wspólny sukces. Wspólnie dążymy do stałej poprawy bezpieczeństwa na naszych projektach. </a:t>
            </a:r>
          </a:p>
          <a:p>
            <a:r>
              <a:rPr lang="pl-PL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eam.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e </a:t>
            </a:r>
            <a:r>
              <a:rPr lang="pl-PL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ork</a:t>
            </a:r>
            <a:r>
              <a:rPr lang="pl-PL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and </a:t>
            </a:r>
            <a:r>
              <a:rPr lang="pl-PL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operate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together for common success. Together, we strive to constantly improve safety on our projects.</a:t>
            </a:r>
          </a:p>
          <a:p>
            <a:endParaRPr lang="pl-PL" sz="20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r>
              <a:rPr lang="pl-PL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#2</a:t>
            </a:r>
            <a:r>
              <a:rPr lang="pl-PL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 </a:t>
            </a:r>
            <a:r>
              <a:rPr lang="pl-PL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aufanie</a:t>
            </a:r>
          </a:p>
          <a:p>
            <a:r>
              <a:rPr lang="pl-PL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famy sobie, bo mamy dobre intencje. Budujemy partnerskie relacje.</a:t>
            </a:r>
          </a:p>
          <a:p>
            <a:r>
              <a:rPr lang="pl-PL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rust.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e trust each other because we have good intentions. We build partnership</a:t>
            </a:r>
            <a:r>
              <a:rPr lang="pl-PL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relations.</a:t>
            </a:r>
            <a:endParaRPr lang="en-US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en-US" sz="20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r>
              <a:rPr lang="pl-PL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#3. </a:t>
            </a:r>
            <a:r>
              <a:rPr lang="pl-PL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dpowiedzialność</a:t>
            </a:r>
          </a:p>
          <a:p>
            <a:r>
              <a:rPr lang="pl-PL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szystko zaczyna się od każdego z nas – budowanie bezpieczeństwa również!</a:t>
            </a:r>
          </a:p>
          <a:p>
            <a:r>
              <a:rPr lang="pl-PL" sz="18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Responsibility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 </a:t>
            </a:r>
            <a:r>
              <a:rPr lang="en-US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t all starts with each of us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– </a:t>
            </a:r>
            <a:r>
              <a:rPr lang="pl-PL" sz="18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afety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as </a:t>
            </a:r>
            <a:r>
              <a:rPr lang="pl-PL" sz="18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ell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!</a:t>
            </a:r>
          </a:p>
          <a:p>
            <a:endParaRPr lang="pl-PL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r>
              <a:rPr lang="pl-PL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#4. </a:t>
            </a:r>
            <a:r>
              <a:rPr lang="pl-PL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Rozwój</a:t>
            </a:r>
          </a:p>
          <a:p>
            <a:r>
              <a:rPr lang="pl-PL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Jesteśmy lepsi każdego dnia.</a:t>
            </a:r>
          </a:p>
          <a:p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evelopment. We </a:t>
            </a:r>
            <a:r>
              <a:rPr lang="pl-PL" sz="18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re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pl-PL" sz="18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etter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pl-PL" sz="18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very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pl-PL" sz="18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ay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</a:t>
            </a:r>
          </a:p>
          <a:p>
            <a:endParaRPr lang="pl-PL" sz="18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pl-PL" sz="20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073270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699" y="1342167"/>
            <a:ext cx="7772401" cy="48014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latin typeface="Arial" pitchFamily="34" charset="0"/>
                <a:cs typeface="Arial" pitchFamily="34" charset="0"/>
              </a:rPr>
              <a:t>Wymagane pozwolenie</a:t>
            </a:r>
            <a:r>
              <a:rPr kumimoji="0" lang="pl-PL" altLang="en-US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;</a:t>
            </a:r>
            <a:endParaRPr kumimoji="0" lang="pl-PL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latin typeface="Arial" pitchFamily="34" charset="0"/>
                <a:cs typeface="Arial" pitchFamily="34" charset="0"/>
              </a:rPr>
              <a:t>Sieci podziemne </a:t>
            </a:r>
            <a:r>
              <a:rPr lang="en-GB" altLang="en-US" dirty="0">
                <a:latin typeface="Arial" pitchFamily="34" charset="0"/>
                <a:cs typeface="Arial" pitchFamily="34" charset="0"/>
              </a:rPr>
              <a:t>– </a:t>
            </a:r>
            <a:r>
              <a:rPr lang="pl-PL" altLang="en-US" dirty="0">
                <a:latin typeface="Arial" pitchFamily="34" charset="0"/>
                <a:cs typeface="Arial" pitchFamily="34" charset="0"/>
              </a:rPr>
              <a:t>upewnij się, że zostały zidentyfikowane przed rozpoczęciem prac;</a:t>
            </a:r>
            <a:endParaRPr kumimoji="0" lang="en-US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latin typeface="Arial" pitchFamily="34" charset="0"/>
                <a:cs typeface="Arial" pitchFamily="34" charset="0"/>
              </a:rPr>
              <a:t>Nie wchodź do wykopu zanim nie zostanie on skontrolowany </a:t>
            </a:r>
            <a:br>
              <a:rPr lang="pl-PL" altLang="en-US" dirty="0">
                <a:latin typeface="Arial" pitchFamily="34" charset="0"/>
                <a:cs typeface="Arial" pitchFamily="34" charset="0"/>
              </a:rPr>
            </a:br>
            <a:r>
              <a:rPr lang="pl-PL" altLang="en-US" dirty="0">
                <a:latin typeface="Arial" pitchFamily="34" charset="0"/>
                <a:cs typeface="Arial" pitchFamily="34" charset="0"/>
              </a:rPr>
              <a:t>i odebrany przez kompetentny nadzór;</a:t>
            </a:r>
            <a:endParaRPr lang="pl-PL" alt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latin typeface="Arial" pitchFamily="34" charset="0"/>
                <a:cs typeface="Arial" pitchFamily="34" charset="0"/>
              </a:rPr>
              <a:t>Wszystkie tymczasowe konstrukcje wsporcze / zabezpieczające </a:t>
            </a:r>
            <a:br>
              <a:rPr lang="pl-PL" altLang="en-US" dirty="0">
                <a:latin typeface="Arial" pitchFamily="34" charset="0"/>
                <a:cs typeface="Arial" pitchFamily="34" charset="0"/>
              </a:rPr>
            </a:br>
            <a:r>
              <a:rPr lang="pl-PL" altLang="en-US" dirty="0">
                <a:latin typeface="Arial" pitchFamily="34" charset="0"/>
                <a:cs typeface="Arial" pitchFamily="34" charset="0"/>
              </a:rPr>
              <a:t>wykop muszą być zaprojektowane, zainstalowane i odebrane przez przeszkolonych, kompetentnych pracowników;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latin typeface="Arial" pitchFamily="34" charset="0"/>
                <a:cs typeface="Arial" pitchFamily="34" charset="0"/>
              </a:rPr>
              <a:t>Nie naruszaj/demontuj powyżej wymienionych konstrukcji bez wcześniejszego uzgodnienia z nadzorem;</a:t>
            </a:r>
            <a:endParaRPr lang="en-GB" altLang="en-US" dirty="0"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latin typeface="Arial" pitchFamily="34" charset="0"/>
                <a:cs typeface="Arial" pitchFamily="34" charset="0"/>
              </a:rPr>
              <a:t>Używaj odpowiednich metod dostępowych do wykopu. Drabiny należy umiejscowić pomiędzy systemami zabezpieczającymi (rozporami).</a:t>
            </a:r>
            <a:br>
              <a:rPr lang="pl-PL" altLang="en-US" dirty="0">
                <a:latin typeface="Arial" pitchFamily="34" charset="0"/>
                <a:cs typeface="Arial" pitchFamily="34" charset="0"/>
              </a:rPr>
            </a:br>
            <a:r>
              <a:rPr lang="pl-PL" altLang="en-US" dirty="0">
                <a:latin typeface="Arial" pitchFamily="34" charset="0"/>
                <a:cs typeface="Arial" pitchFamily="34" charset="0"/>
              </a:rPr>
              <a:t>Drabina musi mieć odpowiednią długość;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latin typeface="Arial" pitchFamily="34" charset="0"/>
                <a:cs typeface="Arial" pitchFamily="34" charset="0"/>
              </a:rPr>
              <a:t>Wymagane jest skuteczne i trwałe wygrodzenie wykopu.</a:t>
            </a:r>
            <a:endParaRPr kumimoji="0" lang="en-GB" altLang="en-US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Obraz 7" descr="Obraz zawierający koparka, zewnętrzne, podłoże, budynek&#10;&#10;Opis wygenerowany automatycznie">
            <a:extLst>
              <a:ext uri="{FF2B5EF4-FFF2-40B4-BE49-F238E27FC236}">
                <a16:creationId xmlns:a16="http://schemas.microsoft.com/office/drawing/2014/main" id="{E2CD636D-122B-4CDC-9B76-AA34772C34A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1950" y="764449"/>
            <a:ext cx="3848100" cy="2653716"/>
          </a:xfrm>
          <a:prstGeom prst="rect">
            <a:avLst/>
          </a:prstGeom>
        </p:spPr>
      </p:pic>
      <p:pic>
        <p:nvPicPr>
          <p:cNvPr id="7" name="Obraz 6" descr="Obraz zawierający zewnętrzne, ciężarówka, niebo, podłoże&#10;&#10;Opis wygenerowany automatycznie">
            <a:extLst>
              <a:ext uri="{FF2B5EF4-FFF2-40B4-BE49-F238E27FC236}">
                <a16:creationId xmlns:a16="http://schemas.microsoft.com/office/drawing/2014/main" id="{742E0751-C39D-4106-A460-C930C1B26E8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02829" y="3423199"/>
            <a:ext cx="3827222" cy="2870417"/>
          </a:xfrm>
          <a:prstGeom prst="rect">
            <a:avLst/>
          </a:prstGeom>
        </p:spPr>
      </p:pic>
      <p:sp>
        <p:nvSpPr>
          <p:cNvPr id="5" name="Tytuł 35">
            <a:extLst>
              <a:ext uri="{FF2B5EF4-FFF2-40B4-BE49-F238E27FC236}">
                <a16:creationId xmlns:a16="http://schemas.microsoft.com/office/drawing/2014/main" id="{5E91CA0D-D779-F82D-97F1-4488E5268DC7}"/>
              </a:ext>
            </a:extLst>
          </p:cNvPr>
          <p:cNvSpPr txBox="1">
            <a:spLocks/>
          </p:cNvSpPr>
          <p:nvPr/>
        </p:nvSpPr>
        <p:spPr>
          <a:xfrm>
            <a:off x="296305" y="714443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Wykopy</a:t>
            </a: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3" descr="goo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4950" y="2495550"/>
            <a:ext cx="2009775" cy="2009775"/>
          </a:xfrm>
          <a:prstGeom prst="rect">
            <a:avLst/>
          </a:prstGeom>
        </p:spPr>
      </p:pic>
      <p:graphicFrame>
        <p:nvGraphicFramePr>
          <p:cNvPr id="90115" name="Object 3"/>
          <p:cNvGraphicFramePr>
            <a:graphicFrameLocks noChangeAspect="1"/>
          </p:cNvGraphicFramePr>
          <p:nvPr/>
        </p:nvGraphicFramePr>
        <p:xfrm>
          <a:off x="5545138" y="1495425"/>
          <a:ext cx="6284912" cy="43640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hoto Editor Photo" r:id="rId4" imgW="2486372" imgH="3809524" progId="">
                  <p:embed/>
                </p:oleObj>
              </mc:Choice>
              <mc:Fallback>
                <p:oleObj name="Photo Editor Photo" r:id="rId4" imgW="2486372" imgH="3809524" progId="">
                  <p:embed/>
                  <p:pic>
                    <p:nvPicPr>
                      <p:cNvPr id="90115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545138" y="1495425"/>
                        <a:ext cx="6284912" cy="43640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ytuł 35">
            <a:extLst>
              <a:ext uri="{FF2B5EF4-FFF2-40B4-BE49-F238E27FC236}">
                <a16:creationId xmlns:a16="http://schemas.microsoft.com/office/drawing/2014/main" id="{DB0AC261-AFC8-8848-51C3-6F7E1D79F5D5}"/>
              </a:ext>
            </a:extLst>
          </p:cNvPr>
          <p:cNvSpPr txBox="1">
            <a:spLocks/>
          </p:cNvSpPr>
          <p:nvPr/>
        </p:nvSpPr>
        <p:spPr>
          <a:xfrm>
            <a:off x="296305" y="714443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Wykopy</a:t>
            </a: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904246" y="3215555"/>
            <a:ext cx="1333731" cy="1333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116120" y="4282355"/>
            <a:ext cx="1333731" cy="1333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524039" y="3232971"/>
            <a:ext cx="1333731" cy="1333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705434" y="4282355"/>
            <a:ext cx="1333731" cy="1333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212018" y="4282355"/>
            <a:ext cx="1333731" cy="1333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212018" y="2005063"/>
            <a:ext cx="1333731" cy="1333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714142" y="1996623"/>
            <a:ext cx="1333731" cy="1333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111765" y="1996355"/>
            <a:ext cx="1333731" cy="1333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3">
            <a:extLst>
              <a:ext uri="{FF2B5EF4-FFF2-40B4-BE49-F238E27FC236}">
                <a16:creationId xmlns:a16="http://schemas.microsoft.com/office/drawing/2014/main" id="{26F14B2F-5FD2-4CC3-84D7-56A9DA1A4072}"/>
              </a:ext>
            </a:extLst>
          </p:cNvPr>
          <p:cNvPicPr>
            <a:picLocks noGrp="1" noChangeAspect="1" noChangeArrowheads="1"/>
          </p:cNvPicPr>
          <p:nvPr>
            <p:ph type="pic" idx="1"/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91935" y="1580798"/>
            <a:ext cx="4371845" cy="4506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ytuł 35">
            <a:extLst>
              <a:ext uri="{FF2B5EF4-FFF2-40B4-BE49-F238E27FC236}">
                <a16:creationId xmlns:a16="http://schemas.microsoft.com/office/drawing/2014/main" id="{0CCDF92B-74E4-2780-5FCF-9556294AA0FD}"/>
              </a:ext>
            </a:extLst>
          </p:cNvPr>
          <p:cNvSpPr txBox="1">
            <a:spLocks/>
          </p:cNvSpPr>
          <p:nvPr/>
        </p:nvSpPr>
        <p:spPr>
          <a:xfrm>
            <a:off x="275040" y="873431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Substancje i mieszaniny chemiczne (niebezpieczne)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Standard COSHH (kontrola substancji niebezpiecznych dla zdrowia)</a:t>
            </a:r>
          </a:p>
        </p:txBody>
      </p:sp>
    </p:spTree>
    <p:extLst>
      <p:ext uri="{BB962C8B-B14F-4D97-AF65-F5344CB8AC3E}">
        <p14:creationId xmlns:p14="http://schemas.microsoft.com/office/powerpoint/2010/main" val="342216295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3" descr="https://photos05.redcart.pl/templates/images/thumb/10987/1500/1500/pl/0/templates/images/products/10987/0a65bb0befd7d827dfeee085ec28b490.gif">
            <a:extLst>
              <a:ext uri="{FF2B5EF4-FFF2-40B4-BE49-F238E27FC236}">
                <a16:creationId xmlns:a16="http://schemas.microsoft.com/office/drawing/2014/main" id="{EE37DF62-D041-4AAB-B48C-25D02A2A9F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4" t="681" r="2111" b="1516"/>
          <a:stretch>
            <a:fillRect/>
          </a:stretch>
        </p:blipFill>
        <p:spPr bwMode="auto">
          <a:xfrm>
            <a:off x="238125" y="2815465"/>
            <a:ext cx="4638675" cy="3325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Box 23">
            <a:extLst>
              <a:ext uri="{FF2B5EF4-FFF2-40B4-BE49-F238E27FC236}">
                <a16:creationId xmlns:a16="http://schemas.microsoft.com/office/drawing/2014/main" id="{42855218-43F5-475E-926F-01EBF87911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6700" y="1160366"/>
            <a:ext cx="4704023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FFFFBA"/>
              </a:buClr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FFFBA"/>
              </a:buClr>
              <a:buChar char="•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</a:pPr>
            <a:r>
              <a:rPr lang="pl-PL" altLang="en-US" sz="1600" dirty="0">
                <a:solidFill>
                  <a:srgbClr val="000000"/>
                </a:solidFill>
              </a:rPr>
              <a:t> </a:t>
            </a:r>
            <a:r>
              <a:rPr lang="pl-PL" altLang="en-US" sz="1800" dirty="0">
                <a:solidFill>
                  <a:srgbClr val="000000"/>
                </a:solidFill>
              </a:rPr>
              <a:t>Zidentyfikować rodzaj substancji</a:t>
            </a:r>
            <a:endParaRPr lang="en-GB" altLang="en-US" sz="1800" dirty="0">
              <a:solidFill>
                <a:srgbClr val="000000"/>
              </a:solidFill>
            </a:endParaRPr>
          </a:p>
          <a:p>
            <a:pPr>
              <a:spcBef>
                <a:spcPct val="0"/>
              </a:spcBef>
              <a:buClrTx/>
            </a:pPr>
            <a:r>
              <a:rPr lang="pl-PL" altLang="en-US" sz="1800" dirty="0">
                <a:solidFill>
                  <a:srgbClr val="000000"/>
                </a:solidFill>
              </a:rPr>
              <a:t> Ocenić kto jest narażony na ryzyko</a:t>
            </a:r>
            <a:endParaRPr lang="en-GB" altLang="en-US" sz="1800" dirty="0">
              <a:solidFill>
                <a:srgbClr val="000000"/>
              </a:solidFill>
            </a:endParaRPr>
          </a:p>
          <a:p>
            <a:pPr>
              <a:spcBef>
                <a:spcPct val="0"/>
              </a:spcBef>
              <a:buClrTx/>
            </a:pPr>
            <a:r>
              <a:rPr lang="en-GB" altLang="en-US" sz="1800" dirty="0">
                <a:solidFill>
                  <a:schemeClr val="tx1"/>
                </a:solidFill>
              </a:rPr>
              <a:t> </a:t>
            </a:r>
            <a:r>
              <a:rPr lang="pl-PL" altLang="en-US" sz="1800" dirty="0">
                <a:solidFill>
                  <a:srgbClr val="000000"/>
                </a:solidFill>
              </a:rPr>
              <a:t>Ocenić poziom ryzyka</a:t>
            </a:r>
            <a:endParaRPr lang="en-GB" altLang="en-US" sz="1800" dirty="0">
              <a:solidFill>
                <a:srgbClr val="000000"/>
              </a:solidFill>
            </a:endParaRPr>
          </a:p>
          <a:p>
            <a:pPr>
              <a:spcBef>
                <a:spcPct val="0"/>
              </a:spcBef>
              <a:buClrTx/>
            </a:pPr>
            <a:r>
              <a:rPr lang="en-GB" altLang="en-US" sz="1800" dirty="0">
                <a:solidFill>
                  <a:srgbClr val="000000"/>
                </a:solidFill>
              </a:rPr>
              <a:t> </a:t>
            </a:r>
            <a:r>
              <a:rPr lang="pl-PL" altLang="en-US" sz="1800" dirty="0">
                <a:solidFill>
                  <a:srgbClr val="000000"/>
                </a:solidFill>
              </a:rPr>
              <a:t>Zapoznać z ryzykiem pracowników</a:t>
            </a:r>
            <a:r>
              <a:rPr lang="en-GB" altLang="en-US" sz="1800" dirty="0">
                <a:solidFill>
                  <a:srgbClr val="000000"/>
                </a:solidFill>
              </a:rPr>
              <a:t>.</a:t>
            </a:r>
          </a:p>
          <a:p>
            <a:pPr>
              <a:spcBef>
                <a:spcPct val="0"/>
              </a:spcBef>
              <a:buClrTx/>
            </a:pPr>
            <a:r>
              <a:rPr lang="en-GB" altLang="en-US" sz="1800" dirty="0">
                <a:solidFill>
                  <a:srgbClr val="000000"/>
                </a:solidFill>
              </a:rPr>
              <a:t> </a:t>
            </a:r>
            <a:r>
              <a:rPr lang="pl-PL" altLang="en-US" sz="1800" dirty="0">
                <a:solidFill>
                  <a:srgbClr val="000000"/>
                </a:solidFill>
              </a:rPr>
              <a:t>Kontrolować okresowo </a:t>
            </a:r>
            <a:endParaRPr lang="en-GB" altLang="en-US" sz="1800" dirty="0">
              <a:solidFill>
                <a:srgbClr val="000000"/>
              </a:solidFill>
            </a:endParaRPr>
          </a:p>
        </p:txBody>
      </p:sp>
      <p:pic>
        <p:nvPicPr>
          <p:cNvPr id="9" name="Obraz 8">
            <a:extLst>
              <a:ext uri="{FF2B5EF4-FFF2-40B4-BE49-F238E27FC236}">
                <a16:creationId xmlns:a16="http://schemas.microsoft.com/office/drawing/2014/main" id="{F488816A-013F-E4DF-D62D-4707E32E85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2363" y="712486"/>
            <a:ext cx="3402898" cy="4798331"/>
          </a:xfrm>
          <a:prstGeom prst="rect">
            <a:avLst/>
          </a:prstGeom>
        </p:spPr>
      </p:pic>
      <p:pic>
        <p:nvPicPr>
          <p:cNvPr id="13" name="Obraz 12">
            <a:extLst>
              <a:ext uri="{FF2B5EF4-FFF2-40B4-BE49-F238E27FC236}">
                <a16:creationId xmlns:a16="http://schemas.microsoft.com/office/drawing/2014/main" id="{3E908A41-EB88-5131-1F37-A6C6FA085B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90824" y="712486"/>
            <a:ext cx="3398563" cy="4798331"/>
          </a:xfrm>
          <a:prstGeom prst="rect">
            <a:avLst/>
          </a:prstGeom>
        </p:spPr>
      </p:pic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Date Placeholder 3">
            <a:extLst>
              <a:ext uri="{FF2B5EF4-FFF2-40B4-BE49-F238E27FC236}">
                <a16:creationId xmlns:a16="http://schemas.microsoft.com/office/drawing/2014/main" id="{ACDAEE70-9A2C-44B2-A6A8-4C4D92DBDA26}"/>
              </a:ext>
            </a:extLst>
          </p:cNvPr>
          <p:cNvSpPr>
            <a:spLocks noGrp="1"/>
          </p:cNvSpPr>
          <p:nvPr>
            <p:ph type="dt" sz="quarter" idx="10"/>
          </p:nvPr>
        </p:nvSpPr>
        <p:spPr bwMode="auto">
          <a:xfrm>
            <a:off x="7670800" y="6196013"/>
            <a:ext cx="198120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700" b="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  <a:defRPr/>
            </a:pPr>
            <a:fld id="{902E976D-CC2D-47F8-823A-33CCF413A6D0}" type="datetime1">
              <a:rPr lang="en-US" smtClean="0"/>
              <a:pPr>
                <a:spcBef>
                  <a:spcPct val="0"/>
                </a:spcBef>
                <a:buClrTx/>
                <a:buFontTx/>
                <a:buNone/>
                <a:defRPr/>
              </a:pPr>
              <a:t>4/11/2024</a:t>
            </a:fld>
            <a:endParaRPr lang="en-GB" altLang="en-US" sz="700"/>
          </a:p>
        </p:txBody>
      </p:sp>
      <p:sp>
        <p:nvSpPr>
          <p:cNvPr id="34819" name="Rectangle 2">
            <a:extLst>
              <a:ext uri="{FF2B5EF4-FFF2-40B4-BE49-F238E27FC236}">
                <a16:creationId xmlns:a16="http://schemas.microsoft.com/office/drawing/2014/main" id="{F8B69CC2-D850-4133-BBEA-4323A945FEE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98208" y="2240109"/>
            <a:ext cx="6729412" cy="841375"/>
          </a:xfrm>
        </p:spPr>
        <p:txBody>
          <a:bodyPr>
            <a:noAutofit/>
          </a:bodyPr>
          <a:lstStyle/>
          <a:p>
            <a:r>
              <a:rPr lang="pl-PL" altLang="en-US" sz="2000" dirty="0">
                <a:solidFill>
                  <a:srgbClr val="000000"/>
                </a:solidFill>
                <a:latin typeface="Arial Nova Cond" panose="020B0506020202020204" pitchFamily="34" charset="0"/>
              </a:rPr>
              <a:t>Przykłady z rzeczywistości</a:t>
            </a:r>
            <a:br>
              <a:rPr lang="pl-PL" altLang="en-US" sz="2000" dirty="0">
                <a:solidFill>
                  <a:srgbClr val="000000"/>
                </a:solidFill>
                <a:latin typeface="Arial Nova Cond" panose="020B0506020202020204" pitchFamily="34" charset="0"/>
              </a:rPr>
            </a:br>
            <a:r>
              <a:rPr lang="pl-PL" altLang="en-US" sz="2000" dirty="0">
                <a:solidFill>
                  <a:srgbClr val="000000"/>
                </a:solidFill>
                <a:latin typeface="Arial Nova Cond" panose="020B0506020202020204" pitchFamily="34" charset="0"/>
              </a:rPr>
              <a:t>Oparzenie betonem</a:t>
            </a:r>
            <a:endParaRPr lang="en-GB" altLang="en-US" sz="2000" dirty="0">
              <a:solidFill>
                <a:srgbClr val="000000"/>
              </a:solidFill>
              <a:latin typeface="Arial Nova Cond" panose="020B0506020202020204" pitchFamily="34" charset="0"/>
            </a:endParaRPr>
          </a:p>
        </p:txBody>
      </p:sp>
      <p:pic>
        <p:nvPicPr>
          <p:cNvPr id="34820" name="Picture 6" descr="Contrete Burns">
            <a:extLst>
              <a:ext uri="{FF2B5EF4-FFF2-40B4-BE49-F238E27FC236}">
                <a16:creationId xmlns:a16="http://schemas.microsoft.com/office/drawing/2014/main" id="{F490B4FC-C7FA-4795-B04F-AD0EFAF92B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85973" y="4303849"/>
            <a:ext cx="3232249" cy="188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821" name="AutoShape 6" descr="Znalezione obrazy dla zapytania oparzenie betonem">
            <a:extLst>
              <a:ext uri="{FF2B5EF4-FFF2-40B4-BE49-F238E27FC236}">
                <a16:creationId xmlns:a16="http://schemas.microsoft.com/office/drawing/2014/main" id="{79D0A00D-1D8D-42E7-A326-DF2A9CB8886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146800" y="3276600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FFFFBA"/>
              </a:buClr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FFFBA"/>
              </a:buClr>
              <a:buChar char="•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endParaRPr lang="pl-PL" altLang="pl-PL" sz="1800">
              <a:solidFill>
                <a:schemeClr val="tx1"/>
              </a:solidFill>
            </a:endParaRPr>
          </a:p>
        </p:txBody>
      </p:sp>
      <p:sp>
        <p:nvSpPr>
          <p:cNvPr id="34822" name="AutoShape 8" descr="Znalezione obrazy dla zapytania oparzenie betonem">
            <a:extLst>
              <a:ext uri="{FF2B5EF4-FFF2-40B4-BE49-F238E27FC236}">
                <a16:creationId xmlns:a16="http://schemas.microsoft.com/office/drawing/2014/main" id="{A885E86A-67FF-445E-BF52-63B66B53327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99200" y="3429000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FFFFBA"/>
              </a:buClr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FFFBA"/>
              </a:buClr>
              <a:buChar char="•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endParaRPr lang="pl-PL" altLang="pl-PL" sz="1800">
              <a:solidFill>
                <a:schemeClr val="tx1"/>
              </a:solidFill>
            </a:endParaRPr>
          </a:p>
        </p:txBody>
      </p:sp>
      <p:pic>
        <p:nvPicPr>
          <p:cNvPr id="34823" name="Obraz 3">
            <a:extLst>
              <a:ext uri="{FF2B5EF4-FFF2-40B4-BE49-F238E27FC236}">
                <a16:creationId xmlns:a16="http://schemas.microsoft.com/office/drawing/2014/main" id="{695E11E5-36FC-4930-BB0D-8991F84487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84403" y="1889852"/>
            <a:ext cx="3211466" cy="2293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4" name="Picture 10" descr="Znalezione obrazy dla zapytania betonowanie">
            <a:extLst>
              <a:ext uri="{FF2B5EF4-FFF2-40B4-BE49-F238E27FC236}">
                <a16:creationId xmlns:a16="http://schemas.microsoft.com/office/drawing/2014/main" id="{7569B1AC-B66E-4D40-A9B6-5CD66AB351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86077" y="1889852"/>
            <a:ext cx="2123395" cy="4303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ytuł 35">
            <a:extLst>
              <a:ext uri="{FF2B5EF4-FFF2-40B4-BE49-F238E27FC236}">
                <a16:creationId xmlns:a16="http://schemas.microsoft.com/office/drawing/2014/main" id="{E8CB4495-CDB5-BA1C-A625-A885A340B064}"/>
              </a:ext>
            </a:extLst>
          </p:cNvPr>
          <p:cNvSpPr txBox="1">
            <a:spLocks/>
          </p:cNvSpPr>
          <p:nvPr/>
        </p:nvSpPr>
        <p:spPr>
          <a:xfrm>
            <a:off x="275040" y="873431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Substancje i mieszaniny chemiczne (niebezpieczne)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Standard COSHH (kontrola substancji niebezpiecznych dla zdrowia)</a:t>
            </a:r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41">
            <a:extLst>
              <a:ext uri="{FF2B5EF4-FFF2-40B4-BE49-F238E27FC236}">
                <a16:creationId xmlns:a16="http://schemas.microsoft.com/office/drawing/2014/main" id="{901140AD-99ED-4CD3-894C-3D70390139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79094" y="1908648"/>
            <a:ext cx="1388644" cy="1169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Obraz 9">
            <a:extLst>
              <a:ext uri="{FF2B5EF4-FFF2-40B4-BE49-F238E27FC236}">
                <a16:creationId xmlns:a16="http://schemas.microsoft.com/office/drawing/2014/main" id="{248CD70C-2465-46FD-999F-F5B56502F32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3580" y="1928672"/>
            <a:ext cx="1390811" cy="1200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Symbol zastępczy obrazu 53" descr="Obraz2.jpg"/>
          <p:cNvPicPr>
            <a:picLocks noGrp="1" noChangeAspect="1"/>
          </p:cNvPicPr>
          <p:nvPr>
            <p:ph type="pic" idx="4294967295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13661" y="3630409"/>
            <a:ext cx="4616389" cy="2754114"/>
          </a:xfrm>
          <a:prstGeom prst="rect">
            <a:avLst/>
          </a:prstGeom>
        </p:spPr>
      </p:pic>
      <p:sp>
        <p:nvSpPr>
          <p:cNvPr id="12" name="Symbol zastępczy obrazu 66"/>
          <p:cNvSpPr>
            <a:spLocks noGrp="1"/>
          </p:cNvSpPr>
          <p:nvPr>
            <p:ph type="pic" idx="1"/>
          </p:nvPr>
        </p:nvSpPr>
        <p:spPr>
          <a:xfrm>
            <a:off x="7448364" y="880390"/>
            <a:ext cx="4616389" cy="2754114"/>
          </a:xfrm>
        </p:spPr>
        <p:txBody>
          <a:bodyPr/>
          <a:lstStyle/>
          <a:p>
            <a:endParaRPr lang="pl-PL"/>
          </a:p>
        </p:txBody>
      </p:sp>
      <p:pic>
        <p:nvPicPr>
          <p:cNvPr id="13" name="Symbol zastępczy obrazu 64" descr="Obraz1.jp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08334" y="888274"/>
            <a:ext cx="4621716" cy="2746230"/>
          </a:xfrm>
          <a:prstGeom prst="rect">
            <a:avLst/>
          </a:prstGeom>
        </p:spPr>
      </p:pic>
      <p:sp>
        <p:nvSpPr>
          <p:cNvPr id="14" name="Symbol zastępczy zawartości 33">
            <a:extLst>
              <a:ext uri="{FF2B5EF4-FFF2-40B4-BE49-F238E27FC236}">
                <a16:creationId xmlns:a16="http://schemas.microsoft.com/office/drawing/2014/main" id="{283B455A-4BDA-4484-8976-5CD8AAE5E871}"/>
              </a:ext>
            </a:extLst>
          </p:cNvPr>
          <p:cNvSpPr txBox="1">
            <a:spLocks/>
          </p:cNvSpPr>
          <p:nvPr/>
        </p:nvSpPr>
        <p:spPr>
          <a:xfrm>
            <a:off x="266700" y="3412076"/>
            <a:ext cx="6906011" cy="2298259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/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rzedłużacze stan techniczny;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odwieszanie kabli lub prowadzenie pod ścianą;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Oświetlenie tymczasowe;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ozdzielnice RB pozamykane, w dobrym stanie technicznym;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rzeglądy elektronarzędzi raz na kwartał przez uprawnionego elektryka (znakowanie wyposażenia elektrycznego etykietami),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l-PL" dirty="0">
                <a:latin typeface="Arial" pitchFamily="34" charset="0"/>
                <a:cs typeface="Arial" pitchFamily="34" charset="0"/>
              </a:rPr>
              <a:t>Stopień ochrony IP 44.</a:t>
            </a:r>
            <a:endParaRPr kumimoji="0" lang="pl-PL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Tytuł 35">
            <a:extLst>
              <a:ext uri="{FF2B5EF4-FFF2-40B4-BE49-F238E27FC236}">
                <a16:creationId xmlns:a16="http://schemas.microsoft.com/office/drawing/2014/main" id="{B67E13C2-D75A-96B4-AFA3-101E101CFC69}"/>
              </a:ext>
            </a:extLst>
          </p:cNvPr>
          <p:cNvSpPr txBox="1">
            <a:spLocks/>
          </p:cNvSpPr>
          <p:nvPr/>
        </p:nvSpPr>
        <p:spPr>
          <a:xfrm>
            <a:off x="275040" y="873431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Elektryczność</a:t>
            </a:r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upa 9"/>
          <p:cNvGrpSpPr/>
          <p:nvPr/>
        </p:nvGrpSpPr>
        <p:grpSpPr>
          <a:xfrm>
            <a:off x="4076700" y="1196700"/>
            <a:ext cx="7763864" cy="4980336"/>
            <a:chOff x="580552" y="1196700"/>
            <a:chExt cx="7763864" cy="4980336"/>
          </a:xfrm>
        </p:grpSpPr>
        <p:pic>
          <p:nvPicPr>
            <p:cNvPr id="2" name="Obraz 1" descr="Obraz zawierający niebo, zewnętrzne, podłoże, płot&#10;&#10;Opis wygenerowany przy bardzo wysokim poziomie pewności">
              <a:extLst>
                <a:ext uri="{FF2B5EF4-FFF2-40B4-BE49-F238E27FC236}">
                  <a16:creationId xmlns:a16="http://schemas.microsoft.com/office/drawing/2014/main" id="{9291668A-61F1-4243-AFCF-12D48A2EB93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80552" y="1196700"/>
              <a:ext cx="2736964" cy="2454550"/>
            </a:xfrm>
            <a:prstGeom prst="rect">
              <a:avLst/>
            </a:prstGeom>
          </p:spPr>
        </p:pic>
        <p:pic>
          <p:nvPicPr>
            <p:cNvPr id="3" name="Obraz 2" descr="Obraz zawierający budynek, osoba, podłoże, mężczyzna&#10;&#10;Opis wygenerowany przy wysokim poziomie pewności">
              <a:extLst>
                <a:ext uri="{FF2B5EF4-FFF2-40B4-BE49-F238E27FC236}">
                  <a16:creationId xmlns:a16="http://schemas.microsoft.com/office/drawing/2014/main" id="{529C2EE1-A686-43AA-8202-6CD005A8D1A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80552" y="3744726"/>
              <a:ext cx="2744808" cy="2432310"/>
            </a:xfrm>
            <a:prstGeom prst="rect">
              <a:avLst/>
            </a:prstGeom>
          </p:spPr>
        </p:pic>
        <p:pic>
          <p:nvPicPr>
            <p:cNvPr id="5" name="Obraz 4" descr="Obraz zawierający podłoże, zewnętrzne, budynek&#10;&#10;Opis wygenerowany przy bardzo wysokim poziomie pewności">
              <a:extLst>
                <a:ext uri="{FF2B5EF4-FFF2-40B4-BE49-F238E27FC236}">
                  <a16:creationId xmlns:a16="http://schemas.microsoft.com/office/drawing/2014/main" id="{8630B5CA-E115-4AF2-A48F-6D5781C5C2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387"/>
            <a:stretch/>
          </p:blipFill>
          <p:spPr>
            <a:xfrm>
              <a:off x="3408635" y="3737577"/>
              <a:ext cx="4935781" cy="2439459"/>
            </a:xfrm>
            <a:prstGeom prst="rect">
              <a:avLst/>
            </a:prstGeom>
          </p:spPr>
        </p:pic>
        <p:pic>
          <p:nvPicPr>
            <p:cNvPr id="6" name="Obraz 5" descr="Obraz zawierający lodówka, ściana, wewnątrz, siedzi&#10;&#10;Opis wygenerowany przy wysokim poziomie pewności">
              <a:extLst>
                <a:ext uri="{FF2B5EF4-FFF2-40B4-BE49-F238E27FC236}">
                  <a16:creationId xmlns:a16="http://schemas.microsoft.com/office/drawing/2014/main" id="{B9865788-D3E3-48AE-8765-EF00982B56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442488" y="1196700"/>
              <a:ext cx="2301696" cy="2439459"/>
            </a:xfrm>
            <a:prstGeom prst="rect">
              <a:avLst/>
            </a:prstGeom>
          </p:spPr>
        </p:pic>
        <p:pic>
          <p:nvPicPr>
            <p:cNvPr id="7" name="Obraz 6" descr="Obraz zawierający ściana, budynek, podłoże, urządzenie&#10;&#10;Opis wygenerowany przy bardzo wysokim poziomie pewności">
              <a:extLst>
                <a:ext uri="{FF2B5EF4-FFF2-40B4-BE49-F238E27FC236}">
                  <a16:creationId xmlns:a16="http://schemas.microsoft.com/office/drawing/2014/main" id="{0F5EAE3B-856D-47E9-B970-2AB3D4AD95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836842" y="1196700"/>
              <a:ext cx="2507574" cy="2430109"/>
            </a:xfrm>
            <a:prstGeom prst="rect">
              <a:avLst/>
            </a:prstGeom>
          </p:spPr>
        </p:pic>
      </p:grpSp>
      <p:pic>
        <p:nvPicPr>
          <p:cNvPr id="12" name="Obraz 11" descr="good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2581275"/>
            <a:ext cx="2009775" cy="2009775"/>
          </a:xfrm>
          <a:prstGeom prst="rect">
            <a:avLst/>
          </a:prstGeom>
        </p:spPr>
      </p:pic>
      <p:sp>
        <p:nvSpPr>
          <p:cNvPr id="11" name="Tytuł 35">
            <a:extLst>
              <a:ext uri="{FF2B5EF4-FFF2-40B4-BE49-F238E27FC236}">
                <a16:creationId xmlns:a16="http://schemas.microsoft.com/office/drawing/2014/main" id="{015E6CF3-6F73-8E9B-4561-67EE7B171BA7}"/>
              </a:ext>
            </a:extLst>
          </p:cNvPr>
          <p:cNvSpPr txBox="1">
            <a:spLocks/>
          </p:cNvSpPr>
          <p:nvPr/>
        </p:nvSpPr>
        <p:spPr>
          <a:xfrm>
            <a:off x="275040" y="873431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Elektryczność</a:t>
            </a: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700" y="1904143"/>
            <a:ext cx="5638800" cy="24011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594" indent="-228594" defTabSz="914377">
              <a:lnSpc>
                <a:spcPct val="150000"/>
              </a:lnSpc>
              <a:spcBef>
                <a:spcPct val="30000"/>
              </a:spcBef>
              <a:buFont typeface="Arial" pitchFamily="34" charset="0"/>
              <a:buChar char="•"/>
            </a:pPr>
            <a:r>
              <a:rPr lang="pl-PL" sz="2000" dirty="0">
                <a:latin typeface="Arial Nova Cond" panose="020B0506020202020204" pitchFamily="34" charset="0"/>
                <a:cs typeface="Arial" pitchFamily="34" charset="0"/>
              </a:rPr>
              <a:t>Prace pożarowo niebezpieczne;</a:t>
            </a:r>
          </a:p>
          <a:p>
            <a:pPr marL="228594" indent="-228594" defTabSz="914377">
              <a:lnSpc>
                <a:spcPct val="150000"/>
              </a:lnSpc>
              <a:spcBef>
                <a:spcPct val="30000"/>
              </a:spcBef>
              <a:buFont typeface="Arial" pitchFamily="34" charset="0"/>
              <a:buChar char="•"/>
            </a:pPr>
            <a:r>
              <a:rPr lang="pl-PL" sz="2000" dirty="0">
                <a:latin typeface="Arial Nova Cond" panose="020B0506020202020204" pitchFamily="34" charset="0"/>
                <a:cs typeface="Arial" pitchFamily="34" charset="0"/>
              </a:rPr>
              <a:t>Transport pionowy;</a:t>
            </a:r>
          </a:p>
          <a:p>
            <a:pPr marL="228594" indent="-228594" defTabSz="914377">
              <a:lnSpc>
                <a:spcPct val="150000"/>
              </a:lnSpc>
              <a:spcBef>
                <a:spcPct val="30000"/>
              </a:spcBef>
              <a:buFont typeface="Arial" pitchFamily="34" charset="0"/>
              <a:buChar char="•"/>
            </a:pPr>
            <a:r>
              <a:rPr lang="pl-PL" sz="2000" dirty="0">
                <a:latin typeface="Arial Nova Cond" panose="020B0506020202020204" pitchFamily="34" charset="0"/>
                <a:cs typeface="Arial" pitchFamily="34" charset="0"/>
              </a:rPr>
              <a:t>Prace ziemne / Wykopy;</a:t>
            </a:r>
          </a:p>
          <a:p>
            <a:pPr marL="228594" indent="-228594" defTabSz="914377">
              <a:lnSpc>
                <a:spcPct val="150000"/>
              </a:lnSpc>
              <a:spcBef>
                <a:spcPct val="30000"/>
              </a:spcBef>
              <a:buFont typeface="Arial" pitchFamily="34" charset="0"/>
              <a:buChar char="•"/>
            </a:pPr>
            <a:r>
              <a:rPr lang="pl-PL" sz="2000" dirty="0">
                <a:latin typeface="Arial Nova Cond" panose="020B0506020202020204" pitchFamily="34" charset="0"/>
                <a:cs typeface="Arial" pitchFamily="34" charset="0"/>
              </a:rPr>
              <a:t>Przestrzenie zamknięte.</a:t>
            </a:r>
            <a:endParaRPr lang="pl-PL" altLang="en-US" sz="2000" dirty="0">
              <a:solidFill>
                <a:srgbClr val="000000"/>
              </a:solidFill>
              <a:latin typeface="Arial Nova Cond" panose="020B0506020202020204" pitchFamily="34" charset="0"/>
              <a:cs typeface="Arial" pitchFamily="34" charset="0"/>
            </a:endParaRPr>
          </a:p>
        </p:txBody>
      </p:sp>
      <p:pic>
        <p:nvPicPr>
          <p:cNvPr id="6" name="Picture 8" descr="Znalezione obrazy dla zapytania pozwolenie na prace">
            <a:extLst>
              <a:ext uri="{FF2B5EF4-FFF2-40B4-BE49-F238E27FC236}">
                <a16:creationId xmlns:a16="http://schemas.microsoft.com/office/drawing/2014/main" id="{FC71E25B-A81E-43C2-8ABC-4074FD5FA6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76951" y="2001329"/>
            <a:ext cx="5753100" cy="36243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ytuł 35">
            <a:extLst>
              <a:ext uri="{FF2B5EF4-FFF2-40B4-BE49-F238E27FC236}">
                <a16:creationId xmlns:a16="http://schemas.microsoft.com/office/drawing/2014/main" id="{00A17A89-0145-8739-48FF-311CEEB5B019}"/>
              </a:ext>
            </a:extLst>
          </p:cNvPr>
          <p:cNvSpPr txBox="1">
            <a:spLocks/>
          </p:cNvSpPr>
          <p:nvPr/>
        </p:nvSpPr>
        <p:spPr>
          <a:xfrm>
            <a:off x="275040" y="873431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Pozwolenia na pracę</a:t>
            </a:r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700" y="1789843"/>
            <a:ext cx="7096126" cy="30869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latin typeface="Arial" pitchFamily="34" charset="0"/>
                <a:cs typeface="Arial" pitchFamily="34" charset="0"/>
              </a:rPr>
              <a:t>Przestrzenie zamknięte to miejsca o utrudnionym dostępie </a:t>
            </a:r>
            <a:br>
              <a:rPr lang="pl-PL" altLang="en-US" dirty="0">
                <a:latin typeface="Arial" pitchFamily="34" charset="0"/>
                <a:cs typeface="Arial" pitchFamily="34" charset="0"/>
              </a:rPr>
            </a:br>
            <a:r>
              <a:rPr lang="pl-PL" altLang="en-US" dirty="0">
                <a:latin typeface="Arial" pitchFamily="34" charset="0"/>
                <a:cs typeface="Arial" pitchFamily="34" charset="0"/>
              </a:rPr>
              <a:t>(częściowo zamknięta, aczkolwiek nie zawsze w całości), </a:t>
            </a:r>
            <a:br>
              <a:rPr lang="pl-PL" altLang="en-US" dirty="0">
                <a:latin typeface="Arial" pitchFamily="34" charset="0"/>
                <a:cs typeface="Arial" pitchFamily="34" charset="0"/>
              </a:rPr>
            </a:br>
            <a:r>
              <a:rPr lang="pl-PL" altLang="en-US" dirty="0">
                <a:latin typeface="Arial" pitchFamily="34" charset="0"/>
                <a:cs typeface="Arial" pitchFamily="34" charset="0"/>
              </a:rPr>
              <a:t>w którym zagrożeniem dla zdrowia są występujące </a:t>
            </a:r>
            <a:br>
              <a:rPr lang="pl-PL" altLang="en-US" dirty="0">
                <a:latin typeface="Arial" pitchFamily="34" charset="0"/>
                <a:cs typeface="Arial" pitchFamily="34" charset="0"/>
              </a:rPr>
            </a:br>
            <a:r>
              <a:rPr lang="pl-PL" altLang="en-US" dirty="0">
                <a:latin typeface="Arial" pitchFamily="34" charset="0"/>
                <a:cs typeface="Arial" pitchFamily="34" charset="0"/>
              </a:rPr>
              <a:t>w przestrzeni niebezpieczne substancje, gazy itp. (brak tlenu)</a:t>
            </a:r>
            <a:r>
              <a:rPr kumimoji="0" lang="pl-PL" altLang="en-US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;</a:t>
            </a:r>
            <a:endParaRPr kumimoji="0" lang="pl-PL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latin typeface="Arial" pitchFamily="34" charset="0"/>
                <a:cs typeface="Arial" pitchFamily="34" charset="0"/>
              </a:rPr>
              <a:t>Tego typu prace mogą być wykonywane jedynie przez osoby, </a:t>
            </a:r>
            <a:br>
              <a:rPr lang="pl-PL" altLang="en-US" dirty="0">
                <a:latin typeface="Arial" pitchFamily="34" charset="0"/>
                <a:cs typeface="Arial" pitchFamily="34" charset="0"/>
              </a:rPr>
            </a:br>
            <a:r>
              <a:rPr lang="pl-PL" altLang="en-US" dirty="0">
                <a:latin typeface="Arial" pitchFamily="34" charset="0"/>
                <a:cs typeface="Arial" pitchFamily="34" charset="0"/>
              </a:rPr>
              <a:t>które otrzymały stosowne przeszkolenie (praca w przestrzeniach zamkniętych)</a:t>
            </a: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;</a:t>
            </a:r>
            <a:endParaRPr kumimoji="0" lang="en-US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latin typeface="Arial" pitchFamily="34" charset="0"/>
                <a:cs typeface="Arial" pitchFamily="34" charset="0"/>
              </a:rPr>
              <a:t>Do rozpoczęcia prac wymagane jest otrzymanie stosownego </a:t>
            </a:r>
            <a:br>
              <a:rPr lang="pl-PL" altLang="en-US" dirty="0">
                <a:latin typeface="Arial" pitchFamily="34" charset="0"/>
                <a:cs typeface="Arial" pitchFamily="34" charset="0"/>
              </a:rPr>
            </a:br>
            <a:r>
              <a:rPr lang="pl-PL" altLang="en-US" dirty="0">
                <a:latin typeface="Arial" pitchFamily="34" charset="0"/>
                <a:cs typeface="Arial" pitchFamily="34" charset="0"/>
              </a:rPr>
              <a:t>pozwolenia na prace.</a:t>
            </a:r>
            <a:endParaRPr lang="pl-PL" alt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Obraz 5" descr="przestrzenie_zamkniete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49934" y="2890978"/>
            <a:ext cx="3288730" cy="3086957"/>
          </a:xfrm>
          <a:prstGeom prst="rect">
            <a:avLst/>
          </a:prstGeom>
        </p:spPr>
      </p:pic>
      <p:sp>
        <p:nvSpPr>
          <p:cNvPr id="7" name="Tytuł 35">
            <a:extLst>
              <a:ext uri="{FF2B5EF4-FFF2-40B4-BE49-F238E27FC236}">
                <a16:creationId xmlns:a16="http://schemas.microsoft.com/office/drawing/2014/main" id="{F99EFE39-B26D-FED2-FFC3-D2647D3A1408}"/>
              </a:ext>
            </a:extLst>
          </p:cNvPr>
          <p:cNvSpPr txBox="1">
            <a:spLocks/>
          </p:cNvSpPr>
          <p:nvPr/>
        </p:nvSpPr>
        <p:spPr>
          <a:xfrm>
            <a:off x="275040" y="873431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Przestrzenie zamknięte</a:t>
            </a:r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Symbol zastępczy obrazu 48" descr="Obraz9.png"/>
          <p:cNvPicPr>
            <a:picLocks noGrp="1" noChangeAspect="1"/>
          </p:cNvPicPr>
          <p:nvPr>
            <p:ph type="pic" idx="1"/>
          </p:nvPr>
        </p:nvPicPr>
        <p:blipFill>
          <a:blip r:embed="rId3"/>
          <a:stretch>
            <a:fillRect/>
          </a:stretch>
        </p:blipFill>
        <p:spPr>
          <a:xfrm>
            <a:off x="1202347" y="1682203"/>
            <a:ext cx="2942857" cy="3247619"/>
          </a:xfrm>
        </p:spPr>
      </p:pic>
      <p:sp>
        <p:nvSpPr>
          <p:cNvPr id="44" name="Prostokąt 43">
            <a:extLst>
              <a:ext uri="{FF2B5EF4-FFF2-40B4-BE49-F238E27FC236}">
                <a16:creationId xmlns:a16="http://schemas.microsoft.com/office/drawing/2014/main" id="{AEB9C810-CFEA-4717-A8A2-9964AF19B7FE}"/>
              </a:ext>
            </a:extLst>
          </p:cNvPr>
          <p:cNvSpPr/>
          <p:nvPr/>
        </p:nvSpPr>
        <p:spPr>
          <a:xfrm>
            <a:off x="1110084" y="4943177"/>
            <a:ext cx="2971300" cy="62510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ct val="200000"/>
              </a:lnSpc>
              <a:spcBef>
                <a:spcPct val="0"/>
              </a:spcBef>
              <a:defRPr/>
            </a:pPr>
            <a:r>
              <a:rPr lang="pl-PL" sz="20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  <a:cs typeface="Arial" pitchFamily="34" charset="0"/>
              </a:rPr>
              <a:t>Obserwacja</a:t>
            </a:r>
          </a:p>
        </p:txBody>
      </p:sp>
      <p:pic>
        <p:nvPicPr>
          <p:cNvPr id="47" name="Obraz 46">
            <a:extLst>
              <a:ext uri="{FF2B5EF4-FFF2-40B4-BE49-F238E27FC236}">
                <a16:creationId xmlns:a16="http://schemas.microsoft.com/office/drawing/2014/main" id="{24077766-63A9-45EB-8E3E-96F30AE353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75317" y="1698239"/>
            <a:ext cx="2824329" cy="3267168"/>
          </a:xfrm>
          <a:prstGeom prst="rect">
            <a:avLst/>
          </a:prstGeom>
        </p:spPr>
      </p:pic>
      <p:pic>
        <p:nvPicPr>
          <p:cNvPr id="48" name="Obraz 47">
            <a:extLst>
              <a:ext uri="{FF2B5EF4-FFF2-40B4-BE49-F238E27FC236}">
                <a16:creationId xmlns:a16="http://schemas.microsoft.com/office/drawing/2014/main" id="{3B4068D5-31EA-43E6-99CA-D23D1F45E5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86281" y="1722191"/>
            <a:ext cx="2784176" cy="3243216"/>
          </a:xfrm>
          <a:prstGeom prst="rect">
            <a:avLst/>
          </a:prstGeom>
        </p:spPr>
      </p:pic>
      <p:sp>
        <p:nvSpPr>
          <p:cNvPr id="49" name="Prostokąt 48">
            <a:extLst>
              <a:ext uri="{FF2B5EF4-FFF2-40B4-BE49-F238E27FC236}">
                <a16:creationId xmlns:a16="http://schemas.microsoft.com/office/drawing/2014/main" id="{AEB9C810-CFEA-4717-A8A2-9964AF19B7FE}"/>
              </a:ext>
            </a:extLst>
          </p:cNvPr>
          <p:cNvSpPr/>
          <p:nvPr/>
        </p:nvSpPr>
        <p:spPr>
          <a:xfrm>
            <a:off x="4081384" y="5028751"/>
            <a:ext cx="4181790" cy="70788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spcBef>
                <a:spcPct val="0"/>
              </a:spcBef>
            </a:pPr>
            <a:r>
              <a:rPr lang="pl-PL" sz="20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  <a:cs typeface="Arial" pitchFamily="34" charset="0"/>
              </a:rPr>
              <a:t>Zdarzenie potencjalnie wypadkowe</a:t>
            </a:r>
          </a:p>
        </p:txBody>
      </p:sp>
      <p:sp>
        <p:nvSpPr>
          <p:cNvPr id="50" name="Prostokąt 49">
            <a:extLst>
              <a:ext uri="{FF2B5EF4-FFF2-40B4-BE49-F238E27FC236}">
                <a16:creationId xmlns:a16="http://schemas.microsoft.com/office/drawing/2014/main" id="{AEB9C810-CFEA-4717-A8A2-9964AF19B7FE}"/>
              </a:ext>
            </a:extLst>
          </p:cNvPr>
          <p:cNvSpPr/>
          <p:nvPr/>
        </p:nvSpPr>
        <p:spPr>
          <a:xfrm>
            <a:off x="8492719" y="4965407"/>
            <a:ext cx="2971300" cy="61241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spcBef>
                <a:spcPct val="0"/>
              </a:spcBef>
            </a:pPr>
            <a:r>
              <a:rPr lang="pl-PL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  <a:cs typeface="Arial" pitchFamily="34" charset="0"/>
              </a:rPr>
              <a:t>Wypadek</a:t>
            </a:r>
          </a:p>
        </p:txBody>
      </p:sp>
      <p:sp>
        <p:nvSpPr>
          <p:cNvPr id="4" name="Tytuł 35">
            <a:extLst>
              <a:ext uri="{FF2B5EF4-FFF2-40B4-BE49-F238E27FC236}">
                <a16:creationId xmlns:a16="http://schemas.microsoft.com/office/drawing/2014/main" id="{71A1269C-7729-62B9-E02F-BD3D1DEFDAF9}"/>
              </a:ext>
            </a:extLst>
          </p:cNvPr>
          <p:cNvSpPr txBox="1">
            <a:spLocks/>
          </p:cNvSpPr>
          <p:nvPr/>
        </p:nvSpPr>
        <p:spPr>
          <a:xfrm>
            <a:off x="296305" y="962102"/>
            <a:ext cx="11346346" cy="4105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Jeżeli zauważysz…</a:t>
            </a:r>
          </a:p>
        </p:txBody>
      </p:sp>
      <p:sp>
        <p:nvSpPr>
          <p:cNvPr id="5" name="Tytuł 35">
            <a:extLst>
              <a:ext uri="{FF2B5EF4-FFF2-40B4-BE49-F238E27FC236}">
                <a16:creationId xmlns:a16="http://schemas.microsoft.com/office/drawing/2014/main" id="{081CB4DC-B702-5619-19B4-12CB44C9A102}"/>
              </a:ext>
            </a:extLst>
          </p:cNvPr>
          <p:cNvSpPr txBox="1">
            <a:spLocks/>
          </p:cNvSpPr>
          <p:nvPr/>
        </p:nvSpPr>
        <p:spPr>
          <a:xfrm>
            <a:off x="296305" y="5721186"/>
            <a:ext cx="11346346" cy="4105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… </a:t>
            </a:r>
            <a:r>
              <a:rPr lang="pl-PL" sz="2400" b="1" dirty="0">
                <a:solidFill>
                  <a:srgbClr val="1C9C59"/>
                </a:solidFill>
                <a:latin typeface="Arial Nova Cond" panose="020B0506020202020204" pitchFamily="34" charset="0"/>
              </a:rPr>
              <a:t>zgłoś</a:t>
            </a:r>
            <a:r>
              <a:rPr lang="pl-PL" sz="2400" b="1" dirty="0">
                <a:latin typeface="Arial Nova Cond" panose="020B0506020202020204" pitchFamily="34" charset="0"/>
              </a:rPr>
              <a:t> nadzorowi </a:t>
            </a:r>
            <a:r>
              <a:rPr lang="pl-PL" sz="2400" b="1" dirty="0" err="1">
                <a:latin typeface="Arial Nova Cond" panose="020B0506020202020204" pitchFamily="34" charset="0"/>
              </a:rPr>
              <a:t>Archicom</a:t>
            </a:r>
            <a:r>
              <a:rPr lang="pl-PL" sz="2400" b="1" dirty="0">
                <a:latin typeface="Arial Nova Cond" panose="020B0506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224362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/>
      <p:bldP spid="49" grpId="0"/>
      <p:bldP spid="5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ytuł 3"/>
          <p:cNvSpPr>
            <a:spLocks noGrp="1"/>
          </p:cNvSpPr>
          <p:nvPr>
            <p:ph type="title"/>
          </p:nvPr>
        </p:nvSpPr>
        <p:spPr>
          <a:xfrm>
            <a:off x="860467" y="728253"/>
            <a:ext cx="11658599" cy="736964"/>
          </a:xfrm>
        </p:spPr>
        <p:txBody>
          <a:bodyPr>
            <a:normAutofit fontScale="90000"/>
          </a:bodyPr>
          <a:lstStyle/>
          <a:p>
            <a:pPr lvl="0"/>
            <a:r>
              <a:rPr lang="pl-PL" sz="2400" dirty="0">
                <a:latin typeface="Arial" panose="020B0604020202020204" pitchFamily="34" charset="0"/>
                <a:cs typeface="Arial" panose="020B0604020202020204" pitchFamily="34" charset="0"/>
              </a:rPr>
              <a:t>Zespół projektowy</a:t>
            </a:r>
            <a:b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 team</a:t>
            </a:r>
          </a:p>
        </p:txBody>
      </p:sp>
      <p:grpSp>
        <p:nvGrpSpPr>
          <p:cNvPr id="6" name="Grupa 5">
            <a:extLst>
              <a:ext uri="{FF2B5EF4-FFF2-40B4-BE49-F238E27FC236}">
                <a16:creationId xmlns:a16="http://schemas.microsoft.com/office/drawing/2014/main" id="{A969A0E4-53F5-94F1-C0B8-503AD2231A1E}"/>
              </a:ext>
            </a:extLst>
          </p:cNvPr>
          <p:cNvGrpSpPr/>
          <p:nvPr/>
        </p:nvGrpSpPr>
        <p:grpSpPr>
          <a:xfrm>
            <a:off x="8752641" y="974088"/>
            <a:ext cx="2404762" cy="2118866"/>
            <a:chOff x="807713" y="2552721"/>
            <a:chExt cx="2404762" cy="2118866"/>
          </a:xfrm>
        </p:grpSpPr>
        <p:pic>
          <p:nvPicPr>
            <p:cNvPr id="7" name="Obraz 6" descr="Zasób 6.png">
              <a:extLst>
                <a:ext uri="{FF2B5EF4-FFF2-40B4-BE49-F238E27FC236}">
                  <a16:creationId xmlns:a16="http://schemas.microsoft.com/office/drawing/2014/main" id="{32477C02-0DC7-5F7B-BC88-1A6D99E7CD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43430" y="2552721"/>
              <a:ext cx="2107475" cy="2118866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8" name="Symbol zastępczy zawartości 33">
              <a:extLst>
                <a:ext uri="{FF2B5EF4-FFF2-40B4-BE49-F238E27FC236}">
                  <a16:creationId xmlns:a16="http://schemas.microsoft.com/office/drawing/2014/main" id="{549EB90A-3118-DD3D-ECE4-946CFEFEFF67}"/>
                </a:ext>
              </a:extLst>
            </p:cNvPr>
            <p:cNvSpPr txBox="1">
              <a:spLocks/>
            </p:cNvSpPr>
            <p:nvPr/>
          </p:nvSpPr>
          <p:spPr>
            <a:xfrm>
              <a:off x="807713" y="3043850"/>
              <a:ext cx="2404762" cy="1277016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/>
            <a:p>
              <a:pPr marR="0" lvl="0" algn="ctr" defTabSz="914377" rtl="0" eaLnBrk="1" fontAlgn="auto" latinLnBrk="0" hangingPunct="1">
                <a:spcBef>
                  <a:spcPts val="1000"/>
                </a:spcBef>
                <a:spcAft>
                  <a:spcPts val="0"/>
                </a:spcAft>
                <a:buClr>
                  <a:srgbClr val="535459"/>
                </a:buClr>
                <a:buSzTx/>
                <a:tabLst/>
                <a:defRPr/>
              </a:pPr>
              <a:r>
                <a:rPr kumimoji="0" lang="pl-P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Wstaw</a:t>
              </a:r>
              <a:r>
                <a:rPr lang="pl-PL" sz="1600" dirty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pl-PL" sz="1600" dirty="0" err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organigram</a:t>
              </a:r>
              <a:r>
                <a:rPr lang="pl-PL" sz="1600" dirty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 budowy oraz zdjęcia osób z projektu</a:t>
              </a:r>
              <a:endPara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</p:grp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A1C6D31C-BE73-D746-CE24-EDF2DDF0737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95862124"/>
              </p:ext>
            </p:extLst>
          </p:nvPr>
        </p:nvGraphicFramePr>
        <p:xfrm>
          <a:off x="1793174" y="543328"/>
          <a:ext cx="8161848" cy="51093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3" name="Obraz 2">
            <a:extLst>
              <a:ext uri="{FF2B5EF4-FFF2-40B4-BE49-F238E27FC236}">
                <a16:creationId xmlns:a16="http://schemas.microsoft.com/office/drawing/2014/main" id="{26877B48-F9FF-7AF2-C452-6A6527C6E06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99603" y="1366761"/>
            <a:ext cx="736964" cy="736964"/>
          </a:xfrm>
          <a:prstGeom prst="rect">
            <a:avLst/>
          </a:prstGeom>
        </p:spPr>
      </p:pic>
      <p:pic>
        <p:nvPicPr>
          <p:cNvPr id="10" name="Obraz 9">
            <a:extLst>
              <a:ext uri="{FF2B5EF4-FFF2-40B4-BE49-F238E27FC236}">
                <a16:creationId xmlns:a16="http://schemas.microsoft.com/office/drawing/2014/main" id="{EF96ED67-02D7-61EC-D4CA-AEFA15885A6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11830" y="2373750"/>
            <a:ext cx="740255" cy="736965"/>
          </a:xfrm>
          <a:prstGeom prst="rect">
            <a:avLst/>
          </a:prstGeom>
        </p:spPr>
      </p:pic>
      <p:pic>
        <p:nvPicPr>
          <p:cNvPr id="14" name="Obraz 13">
            <a:extLst>
              <a:ext uri="{FF2B5EF4-FFF2-40B4-BE49-F238E27FC236}">
                <a16:creationId xmlns:a16="http://schemas.microsoft.com/office/drawing/2014/main" id="{497552C2-A158-1104-4CC7-9D421F003A5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32827" y="2378773"/>
            <a:ext cx="740255" cy="737008"/>
          </a:xfrm>
          <a:prstGeom prst="rect">
            <a:avLst/>
          </a:prstGeom>
        </p:spPr>
      </p:pic>
      <p:pic>
        <p:nvPicPr>
          <p:cNvPr id="16" name="Obraz 15">
            <a:extLst>
              <a:ext uri="{FF2B5EF4-FFF2-40B4-BE49-F238E27FC236}">
                <a16:creationId xmlns:a16="http://schemas.microsoft.com/office/drawing/2014/main" id="{88334AA7-1C86-D2FC-C588-257CB3715D3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749310" y="4866920"/>
            <a:ext cx="853644" cy="853644"/>
          </a:xfrm>
          <a:prstGeom prst="rect">
            <a:avLst/>
          </a:prstGeom>
        </p:spPr>
      </p:pic>
      <p:pic>
        <p:nvPicPr>
          <p:cNvPr id="17" name="Obraz 16">
            <a:extLst>
              <a:ext uri="{FF2B5EF4-FFF2-40B4-BE49-F238E27FC236}">
                <a16:creationId xmlns:a16="http://schemas.microsoft.com/office/drawing/2014/main" id="{12D14B3B-EC21-5C8E-A089-414DAD2AFAA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836567" y="4866920"/>
            <a:ext cx="853644" cy="853644"/>
          </a:xfrm>
          <a:prstGeom prst="rect">
            <a:avLst/>
          </a:prstGeom>
        </p:spPr>
      </p:pic>
      <p:pic>
        <p:nvPicPr>
          <p:cNvPr id="18" name="Obraz 17">
            <a:extLst>
              <a:ext uri="{FF2B5EF4-FFF2-40B4-BE49-F238E27FC236}">
                <a16:creationId xmlns:a16="http://schemas.microsoft.com/office/drawing/2014/main" id="{B1119893-8CBA-0CD8-707E-4DEBAB54068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975249" y="4866920"/>
            <a:ext cx="853644" cy="853644"/>
          </a:xfrm>
          <a:prstGeom prst="rect">
            <a:avLst/>
          </a:prstGeom>
        </p:spPr>
      </p:pic>
      <p:pic>
        <p:nvPicPr>
          <p:cNvPr id="19" name="Obraz 18">
            <a:extLst>
              <a:ext uri="{FF2B5EF4-FFF2-40B4-BE49-F238E27FC236}">
                <a16:creationId xmlns:a16="http://schemas.microsoft.com/office/drawing/2014/main" id="{7A653248-0937-0D42-54D6-2D101FF58B5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079314" y="4866920"/>
            <a:ext cx="853644" cy="853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93128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93137F55-34E6-5847-46F4-ABA26CC89B1B}"/>
              </a:ext>
            </a:extLst>
          </p:cNvPr>
          <p:cNvGraphicFramePr/>
          <p:nvPr/>
        </p:nvGraphicFramePr>
        <p:xfrm>
          <a:off x="180754" y="1318436"/>
          <a:ext cx="6039293" cy="47773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2" name="pole tekstowe 11">
            <a:extLst>
              <a:ext uri="{FF2B5EF4-FFF2-40B4-BE49-F238E27FC236}">
                <a16:creationId xmlns:a16="http://schemas.microsoft.com/office/drawing/2014/main" id="{7366FF9D-F65D-623C-8178-22937E24944C}"/>
              </a:ext>
            </a:extLst>
          </p:cNvPr>
          <p:cNvSpPr txBox="1"/>
          <p:nvPr/>
        </p:nvSpPr>
        <p:spPr>
          <a:xfrm>
            <a:off x="6211187" y="5244526"/>
            <a:ext cx="5980813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pl-PL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Zauważone i zaraportowane niebezpieczne warunki pracy lub niebezpieczne zachowania pracowników (w trakcie inspekcji, przeglądów partnerskich i wizyt ESSV)</a:t>
            </a:r>
          </a:p>
        </p:txBody>
      </p:sp>
      <p:cxnSp>
        <p:nvCxnSpPr>
          <p:cNvPr id="14" name="Łącznik prosty 13">
            <a:extLst>
              <a:ext uri="{FF2B5EF4-FFF2-40B4-BE49-F238E27FC236}">
                <a16:creationId xmlns:a16="http://schemas.microsoft.com/office/drawing/2014/main" id="{0E7BF14A-5576-A51E-000B-CA80BFEA6EC4}"/>
              </a:ext>
            </a:extLst>
          </p:cNvPr>
          <p:cNvCxnSpPr>
            <a:cxnSpLocks/>
          </p:cNvCxnSpPr>
          <p:nvPr/>
        </p:nvCxnSpPr>
        <p:spPr>
          <a:xfrm>
            <a:off x="2030819" y="3233340"/>
            <a:ext cx="10161181" cy="0"/>
          </a:xfrm>
          <a:prstGeom prst="line">
            <a:avLst/>
          </a:prstGeom>
          <a:ln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53000">
                  <a:schemeClr val="tx1">
                    <a:lumMod val="50000"/>
                    <a:lumOff val="50000"/>
                  </a:schemeClr>
                </a:gs>
                <a:gs pos="100000">
                  <a:schemeClr val="accent1">
                    <a:lumMod val="0"/>
                    <a:lumOff val="10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Łącznik prosty 14">
            <a:extLst>
              <a:ext uri="{FF2B5EF4-FFF2-40B4-BE49-F238E27FC236}">
                <a16:creationId xmlns:a16="http://schemas.microsoft.com/office/drawing/2014/main" id="{1AA491B8-4A31-A0B0-35F5-1B5C2800EB9C}"/>
              </a:ext>
            </a:extLst>
          </p:cNvPr>
          <p:cNvCxnSpPr>
            <a:cxnSpLocks/>
          </p:cNvCxnSpPr>
          <p:nvPr/>
        </p:nvCxnSpPr>
        <p:spPr>
          <a:xfrm>
            <a:off x="1382234" y="4186988"/>
            <a:ext cx="10809766" cy="0"/>
          </a:xfrm>
          <a:prstGeom prst="line">
            <a:avLst/>
          </a:prstGeom>
          <a:ln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53000">
                  <a:schemeClr val="tx1">
                    <a:lumMod val="50000"/>
                    <a:lumOff val="50000"/>
                  </a:schemeClr>
                </a:gs>
                <a:gs pos="100000">
                  <a:schemeClr val="accent1">
                    <a:lumMod val="0"/>
                    <a:lumOff val="10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Łącznik prosty 16">
            <a:extLst>
              <a:ext uri="{FF2B5EF4-FFF2-40B4-BE49-F238E27FC236}">
                <a16:creationId xmlns:a16="http://schemas.microsoft.com/office/drawing/2014/main" id="{A1521C31-76B8-0439-7007-332E303AB188}"/>
              </a:ext>
            </a:extLst>
          </p:cNvPr>
          <p:cNvCxnSpPr>
            <a:cxnSpLocks/>
          </p:cNvCxnSpPr>
          <p:nvPr/>
        </p:nvCxnSpPr>
        <p:spPr>
          <a:xfrm>
            <a:off x="2608522" y="2277698"/>
            <a:ext cx="9445255" cy="0"/>
          </a:xfrm>
          <a:prstGeom prst="line">
            <a:avLst/>
          </a:prstGeom>
          <a:ln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53000">
                  <a:schemeClr val="tx1">
                    <a:lumMod val="50000"/>
                    <a:lumOff val="50000"/>
                  </a:schemeClr>
                </a:gs>
                <a:gs pos="100000">
                  <a:schemeClr val="accent1">
                    <a:lumMod val="0"/>
                    <a:lumOff val="10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Łącznik prosty 20">
            <a:extLst>
              <a:ext uri="{FF2B5EF4-FFF2-40B4-BE49-F238E27FC236}">
                <a16:creationId xmlns:a16="http://schemas.microsoft.com/office/drawing/2014/main" id="{9252E6C6-E3B4-3138-375E-8F8E4DF15872}"/>
              </a:ext>
            </a:extLst>
          </p:cNvPr>
          <p:cNvCxnSpPr>
            <a:cxnSpLocks/>
          </p:cNvCxnSpPr>
          <p:nvPr/>
        </p:nvCxnSpPr>
        <p:spPr>
          <a:xfrm>
            <a:off x="786810" y="5131914"/>
            <a:ext cx="11405190" cy="0"/>
          </a:xfrm>
          <a:prstGeom prst="line">
            <a:avLst/>
          </a:prstGeom>
          <a:ln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53000">
                  <a:schemeClr val="tx1">
                    <a:lumMod val="50000"/>
                    <a:lumOff val="50000"/>
                  </a:schemeClr>
                </a:gs>
                <a:gs pos="100000">
                  <a:schemeClr val="accent1">
                    <a:lumMod val="0"/>
                    <a:lumOff val="10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pole tekstowe 22">
            <a:extLst>
              <a:ext uri="{FF2B5EF4-FFF2-40B4-BE49-F238E27FC236}">
                <a16:creationId xmlns:a16="http://schemas.microsoft.com/office/drawing/2014/main" id="{0A83D5DB-5D16-6B0F-BB14-C999C406AB6A}"/>
              </a:ext>
            </a:extLst>
          </p:cNvPr>
          <p:cNvSpPr txBox="1"/>
          <p:nvPr/>
        </p:nvSpPr>
        <p:spPr>
          <a:xfrm>
            <a:off x="5699052" y="4202165"/>
            <a:ext cx="649294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pl-PL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Małe incydenty zaraportowane</a:t>
            </a:r>
            <a:r>
              <a:rPr lang="pl-PL" sz="1400" b="1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*</a:t>
            </a:r>
            <a:r>
              <a:rPr lang="pl-PL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 w trakcie inspekcji, przeglądów partnerskich, wizyt ESSV (duże ryzyko wystąpienia zdarzenia wypadkowego, bez osób poszkodowanych).</a:t>
            </a:r>
          </a:p>
          <a:p>
            <a:pPr lvl="0"/>
            <a:r>
              <a:rPr lang="pl-PL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Pierwsza pomoc – drobne urazy, po udzieleniu pierwszej pomocy, bez utraty czasu pracy (bez zwolnienia lekarskiego)</a:t>
            </a:r>
          </a:p>
        </p:txBody>
      </p:sp>
      <p:sp>
        <p:nvSpPr>
          <p:cNvPr id="24" name="pole tekstowe 23">
            <a:extLst>
              <a:ext uri="{FF2B5EF4-FFF2-40B4-BE49-F238E27FC236}">
                <a16:creationId xmlns:a16="http://schemas.microsoft.com/office/drawing/2014/main" id="{E686CC80-DE31-7B77-CC12-F63A09BB0CBB}"/>
              </a:ext>
            </a:extLst>
          </p:cNvPr>
          <p:cNvSpPr txBox="1"/>
          <p:nvPr/>
        </p:nvSpPr>
        <p:spPr>
          <a:xfrm>
            <a:off x="5142615" y="3267737"/>
            <a:ext cx="704938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pl-PL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Zdarzenia potencjalnie wypadkowe (bez osób poszkodowanych) – istotne okoliczności i przyczyny – </a:t>
            </a:r>
            <a:r>
              <a:rPr lang="pl-PL" sz="1200" b="1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wymaga raportowania IAN.</a:t>
            </a:r>
          </a:p>
          <a:p>
            <a:pPr lvl="0"/>
            <a:r>
              <a:rPr lang="pl-PL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Ujawnione przypadki pracowników, wykonujących pracę pod wpływem alkoholu – obsługujących maszyny, pojazdy lub urządzenia i/lub wykonujących prace szczególnie niebezpieczne (np. prace na wysokości)</a:t>
            </a:r>
          </a:p>
        </p:txBody>
      </p:sp>
      <p:sp>
        <p:nvSpPr>
          <p:cNvPr id="25" name="pole tekstowe 24">
            <a:extLst>
              <a:ext uri="{FF2B5EF4-FFF2-40B4-BE49-F238E27FC236}">
                <a16:creationId xmlns:a16="http://schemas.microsoft.com/office/drawing/2014/main" id="{12C1647A-2922-C82C-0DFF-3E383E7B1135}"/>
              </a:ext>
            </a:extLst>
          </p:cNvPr>
          <p:cNvSpPr txBox="1"/>
          <p:nvPr/>
        </p:nvSpPr>
        <p:spPr>
          <a:xfrm>
            <a:off x="4543647" y="2474547"/>
            <a:ext cx="764835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pl-PL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Zdarzenie nagłe, które powoduje uraz i czasową niezdolność do pracy (zwolnienie lekarskie), nastąpiło w związku z wykonywaną pracę, spowodowane czynnikiem zewnętrznym</a:t>
            </a:r>
          </a:p>
        </p:txBody>
      </p:sp>
      <p:sp>
        <p:nvSpPr>
          <p:cNvPr id="26" name="pole tekstowe 25">
            <a:extLst>
              <a:ext uri="{FF2B5EF4-FFF2-40B4-BE49-F238E27FC236}">
                <a16:creationId xmlns:a16="http://schemas.microsoft.com/office/drawing/2014/main" id="{D9711AC4-E443-932B-AA72-A136B68AF052}"/>
              </a:ext>
            </a:extLst>
          </p:cNvPr>
          <p:cNvSpPr txBox="1"/>
          <p:nvPr/>
        </p:nvSpPr>
        <p:spPr>
          <a:xfrm>
            <a:off x="3868480" y="1644179"/>
            <a:ext cx="832706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pl-PL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Wypadek przy pracy, w wyniku którego doszło do śmierci osoby poszkodowanej</a:t>
            </a:r>
          </a:p>
        </p:txBody>
      </p:sp>
    </p:spTree>
    <p:extLst>
      <p:ext uri="{BB962C8B-B14F-4D97-AF65-F5344CB8AC3E}">
        <p14:creationId xmlns:p14="http://schemas.microsoft.com/office/powerpoint/2010/main" val="244126233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a 23"/>
          <p:cNvGrpSpPr/>
          <p:nvPr/>
        </p:nvGrpSpPr>
        <p:grpSpPr>
          <a:xfrm>
            <a:off x="-21018" y="551504"/>
            <a:ext cx="8192687" cy="5636653"/>
            <a:chOff x="1284073" y="1442947"/>
            <a:chExt cx="6820602" cy="4542382"/>
          </a:xfrm>
        </p:grpSpPr>
        <p:sp>
          <p:nvSpPr>
            <p:cNvPr id="5" name="TextBox 26">
              <a:extLst>
                <a:ext uri="{FF2B5EF4-FFF2-40B4-BE49-F238E27FC236}">
                  <a16:creationId xmlns:a16="http://schemas.microsoft.com/office/drawing/2014/main" id="{71AA3144-3754-406F-A227-6A726A1EF0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62378" y="1538312"/>
              <a:ext cx="3185016" cy="409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50000"/>
                </a:spcBef>
                <a:buFont typeface="Arial" panose="020B0604020202020204" pitchFamily="34" charset="0"/>
                <a:buChar char="−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−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ICZBA PRACOWNIKÓW FIZYCZNYCH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</a:t>
              </a:r>
              <a:r>
                <a:rPr kumimoji="0" lang="pl-PL" altLang="pl-PL" sz="1200" b="0" i="0" u="none" strike="noStrike" kern="1200" cap="none" spc="0" normalizeH="0" baseline="3000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</a:t>
              </a:r>
              <a:r>
                <a:rPr kumimoji="0" lang="pl-PL" altLang="pl-P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of </a:t>
              </a:r>
              <a:r>
                <a:rPr kumimoji="0" lang="pl-PL" altLang="pl-PL" sz="12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mployees</a:t>
              </a:r>
              <a:endParaRPr kumimoji="0" lang="en-US" altLang="pl-P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" name="TextBox 26">
              <a:extLst>
                <a:ext uri="{FF2B5EF4-FFF2-40B4-BE49-F238E27FC236}">
                  <a16:creationId xmlns:a16="http://schemas.microsoft.com/office/drawing/2014/main" id="{71AA3144-3754-406F-A227-6A726A1EF0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84073" y="2143865"/>
              <a:ext cx="3257517" cy="4340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50000"/>
                </a:spcBef>
                <a:buFont typeface="Arial" panose="020B0604020202020204" pitchFamily="34" charset="0"/>
                <a:buChar char="−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−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ICZBA PRACOWNIKÓW NADZORU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</a:t>
              </a:r>
              <a:r>
                <a:rPr kumimoji="0" lang="pl-PL" altLang="pl-PL" sz="1400" b="0" i="0" u="none" strike="noStrike" kern="1200" cap="none" spc="0" normalizeH="0" baseline="3000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</a:t>
              </a:r>
              <a:r>
                <a:rPr kumimoji="0" lang="pl-PL" altLang="pl-PL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of </a:t>
              </a:r>
              <a:r>
                <a:rPr kumimoji="0" lang="pl-PL" altLang="pl-PL" sz="14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upervision</a:t>
              </a:r>
              <a:r>
                <a:rPr kumimoji="0" lang="pl-PL" altLang="pl-PL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pl-PL" altLang="pl-PL" sz="14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mployees</a:t>
              </a:r>
              <a:endParaRPr kumimoji="0" lang="en-US" altLang="pl-PL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7" name="TextBox 26">
              <a:extLst>
                <a:ext uri="{FF2B5EF4-FFF2-40B4-BE49-F238E27FC236}">
                  <a16:creationId xmlns:a16="http://schemas.microsoft.com/office/drawing/2014/main" id="{71AA3144-3754-406F-A227-6A726A1EF0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33681" y="3742076"/>
              <a:ext cx="3257517" cy="471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50000"/>
                </a:spcBef>
                <a:buFont typeface="Arial" panose="020B0604020202020204" pitchFamily="34" charset="0"/>
                <a:buChar char="−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−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WYPADKI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6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ccidents</a:t>
              </a:r>
              <a:endParaRPr kumimoji="0" lang="en-US" alt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8" name="TextBox 26">
              <a:extLst>
                <a:ext uri="{FF2B5EF4-FFF2-40B4-BE49-F238E27FC236}">
                  <a16:creationId xmlns:a16="http://schemas.microsoft.com/office/drawing/2014/main" id="{71AA3144-3754-406F-A227-6A726A1EF0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62378" y="4981821"/>
              <a:ext cx="3328820" cy="471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50000"/>
                </a:spcBef>
                <a:buFont typeface="Arial" panose="020B0604020202020204" pitchFamily="34" charset="0"/>
                <a:buChar char="−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−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IERWSZA POMOC/ MAŁE INCYDENTY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irst Aid / Minor </a:t>
              </a:r>
              <a:r>
                <a:rPr kumimoji="0" lang="pl-PL" altLang="pl-PL" sz="16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ncidents</a:t>
              </a:r>
              <a:endParaRPr kumimoji="0" lang="en-US" alt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TextBox 26">
              <a:extLst>
                <a:ext uri="{FF2B5EF4-FFF2-40B4-BE49-F238E27FC236}">
                  <a16:creationId xmlns:a16="http://schemas.microsoft.com/office/drawing/2014/main" id="{71AA3144-3754-406F-A227-6A726A1EF0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33681" y="5514079"/>
              <a:ext cx="3257517" cy="471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50000"/>
                </a:spcBef>
                <a:buFont typeface="Arial" panose="020B0604020202020204" pitchFamily="34" charset="0"/>
                <a:buChar char="−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−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l-PL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BSERWACJE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l-PL" sz="16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bservations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2" name="Grupa 22"/>
            <p:cNvGrpSpPr/>
            <p:nvPr/>
          </p:nvGrpSpPr>
          <p:grpSpPr>
            <a:xfrm>
              <a:off x="4619895" y="1442947"/>
              <a:ext cx="1558507" cy="546365"/>
              <a:chOff x="4612095" y="1442948"/>
              <a:chExt cx="1558507" cy="546365"/>
            </a:xfrm>
            <a:solidFill>
              <a:schemeClr val="bg1"/>
            </a:solidFill>
          </p:grpSpPr>
          <p:sp>
            <p:nvSpPr>
              <p:cNvPr id="13" name="Prostokąt zaokrąglony 12"/>
              <p:cNvSpPr/>
              <p:nvPr/>
            </p:nvSpPr>
            <p:spPr>
              <a:xfrm>
                <a:off x="4612095" y="1442948"/>
                <a:ext cx="457200" cy="545123"/>
              </a:xfrm>
              <a:prstGeom prst="roundRect">
                <a:avLst/>
              </a:prstGeom>
              <a:grpFill/>
              <a:ln w="12700">
                <a:solidFill>
                  <a:schemeClr val="bg2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Gotham Book" pitchFamily="50" charset="0"/>
                    <a:ea typeface="+mn-ea"/>
                    <a:cs typeface="Gotham Book" pitchFamily="50" charset="0"/>
                  </a:rPr>
                  <a:t>0</a:t>
                </a:r>
              </a:p>
            </p:txBody>
          </p:sp>
          <p:sp>
            <p:nvSpPr>
              <p:cNvPr id="14" name="Prostokąt zaokrąglony 13"/>
              <p:cNvSpPr/>
              <p:nvPr/>
            </p:nvSpPr>
            <p:spPr>
              <a:xfrm>
                <a:off x="5165653" y="1442948"/>
                <a:ext cx="457200" cy="516173"/>
              </a:xfrm>
              <a:prstGeom prst="roundRect">
                <a:avLst/>
              </a:prstGeom>
              <a:grpFill/>
              <a:ln w="12700">
                <a:solidFill>
                  <a:schemeClr val="bg2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Gotham Book" pitchFamily="50" charset="0"/>
                    <a:ea typeface="+mn-ea"/>
                    <a:cs typeface="Gotham Book" pitchFamily="50" charset="0"/>
                  </a:rPr>
                  <a:t>0</a:t>
                </a:r>
              </a:p>
            </p:txBody>
          </p:sp>
          <p:sp>
            <p:nvSpPr>
              <p:cNvPr id="15" name="Prostokąt zaokrąglony 14"/>
              <p:cNvSpPr/>
              <p:nvPr/>
            </p:nvSpPr>
            <p:spPr>
              <a:xfrm>
                <a:off x="5713402" y="1444190"/>
                <a:ext cx="457200" cy="545123"/>
              </a:xfrm>
              <a:prstGeom prst="roundRect">
                <a:avLst/>
              </a:prstGeom>
              <a:grpFill/>
              <a:ln w="12700">
                <a:solidFill>
                  <a:schemeClr val="bg2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Gotham Book" pitchFamily="50" charset="0"/>
                    <a:ea typeface="+mn-ea"/>
                    <a:cs typeface="Gotham Book" pitchFamily="50" charset="0"/>
                  </a:rPr>
                  <a:t>0</a:t>
                </a:r>
              </a:p>
            </p:txBody>
          </p:sp>
        </p:grpSp>
        <p:grpSp>
          <p:nvGrpSpPr>
            <p:cNvPr id="3" name="Grupa 21"/>
            <p:cNvGrpSpPr/>
            <p:nvPr/>
          </p:nvGrpSpPr>
          <p:grpSpPr>
            <a:xfrm>
              <a:off x="4614091" y="2070570"/>
              <a:ext cx="1564312" cy="575315"/>
              <a:chOff x="4758691" y="1256971"/>
              <a:chExt cx="1564312" cy="575315"/>
            </a:xfrm>
            <a:solidFill>
              <a:schemeClr val="bg1"/>
            </a:solidFill>
          </p:grpSpPr>
          <p:sp>
            <p:nvSpPr>
              <p:cNvPr id="19" name="Prostokąt zaokrąglony 18"/>
              <p:cNvSpPr/>
              <p:nvPr/>
            </p:nvSpPr>
            <p:spPr>
              <a:xfrm>
                <a:off x="4758691" y="1256971"/>
                <a:ext cx="457200" cy="545123"/>
              </a:xfrm>
              <a:prstGeom prst="roundRect">
                <a:avLst/>
              </a:prstGeom>
              <a:grpFill/>
              <a:ln w="12700">
                <a:solidFill>
                  <a:schemeClr val="bg2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Gotham Book" pitchFamily="50" charset="0"/>
                    <a:ea typeface="+mn-ea"/>
                    <a:cs typeface="Gotham Book" pitchFamily="50" charset="0"/>
                  </a:rPr>
                  <a:t>0</a:t>
                </a:r>
              </a:p>
            </p:txBody>
          </p:sp>
          <p:sp>
            <p:nvSpPr>
              <p:cNvPr id="20" name="Prostokąt zaokrąglony 19"/>
              <p:cNvSpPr/>
              <p:nvPr/>
            </p:nvSpPr>
            <p:spPr>
              <a:xfrm>
                <a:off x="5312247" y="1287163"/>
                <a:ext cx="457200" cy="545123"/>
              </a:xfrm>
              <a:prstGeom prst="roundRect">
                <a:avLst/>
              </a:prstGeom>
              <a:grpFill/>
              <a:ln w="12700">
                <a:solidFill>
                  <a:schemeClr val="bg2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Gotham Book" pitchFamily="50" charset="0"/>
                    <a:ea typeface="+mn-ea"/>
                    <a:cs typeface="Gotham Book" pitchFamily="50" charset="0"/>
                  </a:rPr>
                  <a:t>0</a:t>
                </a:r>
              </a:p>
            </p:txBody>
          </p:sp>
          <p:sp>
            <p:nvSpPr>
              <p:cNvPr id="21" name="Prostokąt zaokrąglony 20"/>
              <p:cNvSpPr/>
              <p:nvPr/>
            </p:nvSpPr>
            <p:spPr>
              <a:xfrm>
                <a:off x="5865803" y="1256971"/>
                <a:ext cx="457200" cy="545123"/>
              </a:xfrm>
              <a:prstGeom prst="roundRect">
                <a:avLst/>
              </a:prstGeom>
              <a:grpFill/>
              <a:ln w="12700">
                <a:solidFill>
                  <a:schemeClr val="bg2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Gotham Book" pitchFamily="50" charset="0"/>
                    <a:ea typeface="+mn-ea"/>
                    <a:cs typeface="Gotham Book" pitchFamily="50" charset="0"/>
                  </a:rPr>
                  <a:t>0</a:t>
                </a:r>
              </a:p>
            </p:txBody>
          </p:sp>
        </p:grpSp>
        <p:sp>
          <p:nvSpPr>
            <p:cNvPr id="25" name="Prostokąt zaokrąglony 24"/>
            <p:cNvSpPr/>
            <p:nvPr/>
          </p:nvSpPr>
          <p:spPr>
            <a:xfrm>
              <a:off x="6109845" y="3831979"/>
              <a:ext cx="1641156" cy="403861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rgbClr val="FF0000"/>
              </a:solidFill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Gotham Book" pitchFamily="50" charset="0"/>
                  <a:ea typeface="+mn-ea"/>
                  <a:cs typeface="Gotham Book" pitchFamily="50" charset="0"/>
                </a:rPr>
                <a:t>0</a:t>
              </a:r>
            </a:p>
          </p:txBody>
        </p:sp>
        <p:sp>
          <p:nvSpPr>
            <p:cNvPr id="33" name="Prostokąt zaokrąglony 32"/>
            <p:cNvSpPr/>
            <p:nvPr/>
          </p:nvSpPr>
          <p:spPr>
            <a:xfrm>
              <a:off x="5798312" y="4411718"/>
              <a:ext cx="2306363" cy="403861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rgbClr val="FFFF00"/>
              </a:solidFill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Gotham Book" pitchFamily="50" charset="0"/>
                  <a:ea typeface="+mn-ea"/>
                  <a:cs typeface="Gotham Book" pitchFamily="50" charset="0"/>
                </a:rPr>
                <a:t>0</a:t>
              </a:r>
            </a:p>
          </p:txBody>
        </p:sp>
      </p:grpSp>
      <p:pic>
        <p:nvPicPr>
          <p:cNvPr id="4" name="Obraz 3">
            <a:extLst>
              <a:ext uri="{FF2B5EF4-FFF2-40B4-BE49-F238E27FC236}">
                <a16:creationId xmlns:a16="http://schemas.microsoft.com/office/drawing/2014/main" id="{9A0F32CF-2C02-CF82-E055-96964A8768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686" y="2231543"/>
            <a:ext cx="3712786" cy="682811"/>
          </a:xfrm>
          <a:prstGeom prst="rect">
            <a:avLst/>
          </a:prstGeom>
        </p:spPr>
      </p:pic>
      <p:sp>
        <p:nvSpPr>
          <p:cNvPr id="23" name="TextBox 26">
            <a:extLst>
              <a:ext uri="{FF2B5EF4-FFF2-40B4-BE49-F238E27FC236}">
                <a16:creationId xmlns:a16="http://schemas.microsoft.com/office/drawing/2014/main" id="{9E372B2D-BDFE-C217-D52B-93CDEF17F35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98382" y="1536344"/>
            <a:ext cx="2572889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50000"/>
              </a:spcBef>
              <a:buFont typeface="Arial" panose="020B0604020202020204" pitchFamily="34" charset="0"/>
              <a:buChar char="−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−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CZBA WYSTAWIONYCH ŻÓŁTYCH KARTEK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. of </a:t>
            </a:r>
            <a:r>
              <a:rPr kumimoji="0" lang="pl-PL" altLang="pl-PL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btained</a:t>
            </a:r>
            <a:r>
              <a:rPr kumimoji="0" lang="pl-PL" alt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l-PL" altLang="pl-PL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yellow</a:t>
            </a:r>
            <a:r>
              <a:rPr kumimoji="0" lang="pl-PL" alt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l-PL" altLang="pl-PL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rds</a:t>
            </a:r>
            <a:endParaRPr kumimoji="0" lang="en-US" altLang="pl-PL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TextBox 26">
            <a:extLst>
              <a:ext uri="{FF2B5EF4-FFF2-40B4-BE49-F238E27FC236}">
                <a16:creationId xmlns:a16="http://schemas.microsoft.com/office/drawing/2014/main" id="{FDE4A8BF-6A11-60E0-3627-20D664DB50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56475" y="626198"/>
            <a:ext cx="2572889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50000"/>
              </a:spcBef>
              <a:buFont typeface="Arial" panose="020B0604020202020204" pitchFamily="34" charset="0"/>
              <a:buChar char="−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−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CZBA WYSTAWIONYCH CZERWONYCH KARTEK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altLang="pl-PL" sz="1400" dirty="0">
                <a:solidFill>
                  <a:prstClr val="black"/>
                </a:solidFill>
                <a:cs typeface="Arial" panose="020B0604020202020204" pitchFamily="34" charset="0"/>
              </a:rPr>
              <a:t>No. of </a:t>
            </a:r>
            <a:r>
              <a:rPr lang="pl-PL" altLang="pl-PL" sz="1400" dirty="0" err="1">
                <a:solidFill>
                  <a:prstClr val="black"/>
                </a:solidFill>
                <a:cs typeface="Arial" panose="020B0604020202020204" pitchFamily="34" charset="0"/>
              </a:rPr>
              <a:t>obtained</a:t>
            </a:r>
            <a:r>
              <a:rPr lang="pl-PL" altLang="pl-PL" sz="1400" dirty="0">
                <a:solidFill>
                  <a:prstClr val="black"/>
                </a:solidFill>
                <a:cs typeface="Arial" panose="020B0604020202020204" pitchFamily="34" charset="0"/>
              </a:rPr>
              <a:t> red </a:t>
            </a:r>
            <a:r>
              <a:rPr lang="pl-PL" altLang="pl-PL" sz="1400" dirty="0" err="1">
                <a:solidFill>
                  <a:prstClr val="black"/>
                </a:solidFill>
                <a:cs typeface="Arial" panose="020B0604020202020204" pitchFamily="34" charset="0"/>
              </a:rPr>
              <a:t>cards</a:t>
            </a:r>
            <a:endParaRPr kumimoji="0" lang="en-US" altLang="pl-PL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8E4E604-6A03-A731-1BEF-0552F09392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66311" y="2308905"/>
            <a:ext cx="2572889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50000"/>
              </a:spcBef>
              <a:buFont typeface="Arial" panose="020B0604020202020204" pitchFamily="34" charset="0"/>
              <a:buChar char="−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−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altLang="pl-PL" sz="1400" dirty="0">
                <a:solidFill>
                  <a:prstClr val="black"/>
                </a:solidFill>
                <a:cs typeface="Arial" panose="020B0604020202020204" pitchFamily="34" charset="0"/>
              </a:rPr>
              <a:t>LICZBA PRZYZNANYCH NAGRÓD BHP</a:t>
            </a:r>
            <a:endParaRPr kumimoji="0" lang="pl-PL" altLang="pl-PL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altLang="pl-PL" sz="1400" dirty="0">
                <a:solidFill>
                  <a:prstClr val="black"/>
                </a:solidFill>
                <a:cs typeface="Arial" panose="020B0604020202020204" pitchFamily="34" charset="0"/>
              </a:rPr>
              <a:t>No. of </a:t>
            </a:r>
            <a:r>
              <a:rPr lang="pl-PL" altLang="pl-PL" sz="1400" dirty="0" err="1">
                <a:solidFill>
                  <a:prstClr val="black"/>
                </a:solidFill>
                <a:cs typeface="Arial" panose="020B0604020202020204" pitchFamily="34" charset="0"/>
              </a:rPr>
              <a:t>issued</a:t>
            </a:r>
            <a:r>
              <a:rPr lang="pl-PL" altLang="pl-PL" sz="1400" dirty="0">
                <a:solidFill>
                  <a:prstClr val="black"/>
                </a:solidFill>
                <a:cs typeface="Arial" panose="020B0604020202020204" pitchFamily="34" charset="0"/>
              </a:rPr>
              <a:t> EHS </a:t>
            </a:r>
            <a:r>
              <a:rPr lang="pl-PL" altLang="pl-PL" sz="1400" dirty="0" err="1">
                <a:solidFill>
                  <a:prstClr val="black"/>
                </a:solidFill>
                <a:cs typeface="Arial" panose="020B0604020202020204" pitchFamily="34" charset="0"/>
              </a:rPr>
              <a:t>Awards</a:t>
            </a:r>
            <a:endParaRPr kumimoji="0" lang="en-US" altLang="pl-PL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Prostokąt zaokrąglony 32">
            <a:extLst>
              <a:ext uri="{FF2B5EF4-FFF2-40B4-BE49-F238E27FC236}">
                <a16:creationId xmlns:a16="http://schemas.microsoft.com/office/drawing/2014/main" id="{01561198-2F21-A62C-5459-76D87FDDF756}"/>
              </a:ext>
            </a:extLst>
          </p:cNvPr>
          <p:cNvSpPr/>
          <p:nvPr/>
        </p:nvSpPr>
        <p:spPr>
          <a:xfrm>
            <a:off x="8939527" y="1608823"/>
            <a:ext cx="1875617" cy="611473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FF00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29" name="Prostokąt zaokrąglony 24">
            <a:extLst>
              <a:ext uri="{FF2B5EF4-FFF2-40B4-BE49-F238E27FC236}">
                <a16:creationId xmlns:a16="http://schemas.microsoft.com/office/drawing/2014/main" id="{9C5ACD35-0F9C-7AB9-6168-55EAE4D37869}"/>
              </a:ext>
            </a:extLst>
          </p:cNvPr>
          <p:cNvSpPr/>
          <p:nvPr/>
        </p:nvSpPr>
        <p:spPr>
          <a:xfrm>
            <a:off x="8939527" y="707588"/>
            <a:ext cx="1875617" cy="579926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30" name="Prostokąt zaokrąglony 24">
            <a:extLst>
              <a:ext uri="{FF2B5EF4-FFF2-40B4-BE49-F238E27FC236}">
                <a16:creationId xmlns:a16="http://schemas.microsoft.com/office/drawing/2014/main" id="{D584AC91-49BB-9A1B-EFC4-8F3CF4BA3033}"/>
              </a:ext>
            </a:extLst>
          </p:cNvPr>
          <p:cNvSpPr/>
          <p:nvPr/>
        </p:nvSpPr>
        <p:spPr>
          <a:xfrm>
            <a:off x="8939527" y="2421000"/>
            <a:ext cx="1875617" cy="579926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00B050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16" name="Prostokąt zaokrąglony 32">
            <a:extLst>
              <a:ext uri="{FF2B5EF4-FFF2-40B4-BE49-F238E27FC236}">
                <a16:creationId xmlns:a16="http://schemas.microsoft.com/office/drawing/2014/main" id="{C48BD05E-BA9A-E55A-B634-864E6122D341}"/>
              </a:ext>
            </a:extLst>
          </p:cNvPr>
          <p:cNvSpPr/>
          <p:nvPr/>
        </p:nvSpPr>
        <p:spPr>
          <a:xfrm>
            <a:off x="4535038" y="5697499"/>
            <a:ext cx="4459292" cy="501151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00B050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b="1" dirty="0">
                <a:solidFill>
                  <a:prstClr val="black"/>
                </a:solidFill>
              </a:rPr>
              <a:t>0</a:t>
            </a:r>
          </a:p>
        </p:txBody>
      </p:sp>
      <p:sp>
        <p:nvSpPr>
          <p:cNvPr id="17" name="Prostokąt zaokrąglony 18">
            <a:extLst>
              <a:ext uri="{FF2B5EF4-FFF2-40B4-BE49-F238E27FC236}">
                <a16:creationId xmlns:a16="http://schemas.microsoft.com/office/drawing/2014/main" id="{0654C8C2-6383-0529-D089-40493CF41E1C}"/>
              </a:ext>
            </a:extLst>
          </p:cNvPr>
          <p:cNvSpPr/>
          <p:nvPr/>
        </p:nvSpPr>
        <p:spPr>
          <a:xfrm>
            <a:off x="3978891" y="2164345"/>
            <a:ext cx="549174" cy="67644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18" name="Prostokąt zaokrąglony 19">
            <a:extLst>
              <a:ext uri="{FF2B5EF4-FFF2-40B4-BE49-F238E27FC236}">
                <a16:creationId xmlns:a16="http://schemas.microsoft.com/office/drawing/2014/main" id="{723FBCE9-1529-31C2-6F27-EF3DEF29848E}"/>
              </a:ext>
            </a:extLst>
          </p:cNvPr>
          <p:cNvSpPr/>
          <p:nvPr/>
        </p:nvSpPr>
        <p:spPr>
          <a:xfrm>
            <a:off x="4643806" y="2164345"/>
            <a:ext cx="549174" cy="67644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22" name="Prostokąt zaokrąglony 20">
            <a:extLst>
              <a:ext uri="{FF2B5EF4-FFF2-40B4-BE49-F238E27FC236}">
                <a16:creationId xmlns:a16="http://schemas.microsoft.com/office/drawing/2014/main" id="{FD76A2A6-2652-694D-3793-83DEF036ED59}"/>
              </a:ext>
            </a:extLst>
          </p:cNvPr>
          <p:cNvSpPr/>
          <p:nvPr/>
        </p:nvSpPr>
        <p:spPr>
          <a:xfrm>
            <a:off x="5308718" y="2164345"/>
            <a:ext cx="549174" cy="67644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9" name="Prostokąt zaokrąglony 32">
            <a:extLst>
              <a:ext uri="{FF2B5EF4-FFF2-40B4-BE49-F238E27FC236}">
                <a16:creationId xmlns:a16="http://schemas.microsoft.com/office/drawing/2014/main" id="{3F563820-ACF4-72F9-0AA9-DBC449AD7D9C}"/>
              </a:ext>
            </a:extLst>
          </p:cNvPr>
          <p:cNvSpPr/>
          <p:nvPr/>
        </p:nvSpPr>
        <p:spPr>
          <a:xfrm>
            <a:off x="4957704" y="4965572"/>
            <a:ext cx="3657600" cy="501152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C000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11" name="TextBox 26">
            <a:extLst>
              <a:ext uri="{FF2B5EF4-FFF2-40B4-BE49-F238E27FC236}">
                <a16:creationId xmlns:a16="http://schemas.microsoft.com/office/drawing/2014/main" id="{ACD936AF-F889-73A8-4275-164D46CED9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8686" y="4173700"/>
            <a:ext cx="391282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50000"/>
              </a:spcBef>
              <a:buFont typeface="Arial" panose="020B0604020202020204" pitchFamily="34" charset="0"/>
              <a:buChar char="−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−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WAŻNE INCYDENTY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rious</a:t>
            </a:r>
            <a:r>
              <a:rPr kumimoji="0" lang="pl-PL" alt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pl-PL" altLang="pl-PL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cidents</a:t>
            </a:r>
            <a:endParaRPr kumimoji="0" lang="en-US" altLang="pl-PL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rupa 44">
            <a:extLst>
              <a:ext uri="{FF2B5EF4-FFF2-40B4-BE49-F238E27FC236}">
                <a16:creationId xmlns:a16="http://schemas.microsoft.com/office/drawing/2014/main" id="{85263723-9FBC-4920-8724-ED2A0061DEF2}"/>
              </a:ext>
            </a:extLst>
          </p:cNvPr>
          <p:cNvGrpSpPr/>
          <p:nvPr/>
        </p:nvGrpSpPr>
        <p:grpSpPr>
          <a:xfrm>
            <a:off x="1339797" y="1626732"/>
            <a:ext cx="3586647" cy="4197709"/>
            <a:chOff x="1339797" y="1920646"/>
            <a:chExt cx="3586647" cy="4197709"/>
          </a:xfrm>
        </p:grpSpPr>
        <p:pic>
          <p:nvPicPr>
            <p:cNvPr id="46" name="Picture 4">
              <a:extLst>
                <a:ext uri="{FF2B5EF4-FFF2-40B4-BE49-F238E27FC236}">
                  <a16:creationId xmlns:a16="http://schemas.microsoft.com/office/drawing/2014/main" id="{F9B79B00-E20C-45A2-B666-58975A4368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3554844" y="3259885"/>
              <a:ext cx="1371600" cy="1066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47" name="Picture 2">
              <a:extLst>
                <a:ext uri="{FF2B5EF4-FFF2-40B4-BE49-F238E27FC236}">
                  <a16:creationId xmlns:a16="http://schemas.microsoft.com/office/drawing/2014/main" id="{3AA94853-83C4-421B-8008-78E7C6BB2A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/>
            <a:stretch>
              <a:fillRect/>
            </a:stretch>
          </p:blipFill>
          <p:spPr bwMode="auto">
            <a:xfrm>
              <a:off x="1339797" y="1920646"/>
              <a:ext cx="2989263" cy="2433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48" name="Picture 6" descr="Image result for 3 point chin strap for hard hat">
              <a:extLst>
                <a:ext uri="{FF2B5EF4-FFF2-40B4-BE49-F238E27FC236}">
                  <a16:creationId xmlns:a16="http://schemas.microsoft.com/office/drawing/2014/main" id="{DF31DDF0-72DE-4472-9F62-EACE2FF3F34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4131" y="4411014"/>
              <a:ext cx="1013515" cy="10135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" name="Picture 2">
              <a:extLst>
                <a:ext uri="{FF2B5EF4-FFF2-40B4-BE49-F238E27FC236}">
                  <a16:creationId xmlns:a16="http://schemas.microsoft.com/office/drawing/2014/main" id="{0C85AF33-AB5F-493A-9A32-2174A28183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586163" y="3692116"/>
              <a:ext cx="1344613" cy="1346200"/>
            </a:xfrm>
            <a:prstGeom prst="rect">
              <a:avLst/>
            </a:prstGeom>
            <a:noFill/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sp>
          <p:nvSpPr>
            <p:cNvPr id="52" name="Prostokąt 51">
              <a:extLst>
                <a:ext uri="{FF2B5EF4-FFF2-40B4-BE49-F238E27FC236}">
                  <a16:creationId xmlns:a16="http://schemas.microsoft.com/office/drawing/2014/main" id="{AEB9C810-CFEA-4717-A8A2-9964AF19B7FE}"/>
                </a:ext>
              </a:extLst>
            </p:cNvPr>
            <p:cNvSpPr/>
            <p:nvPr/>
          </p:nvSpPr>
          <p:spPr>
            <a:xfrm>
              <a:off x="1445126" y="5410469"/>
              <a:ext cx="2971300" cy="70788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ct val="200000"/>
                </a:lnSpc>
                <a:spcBef>
                  <a:spcPct val="0"/>
                </a:spcBef>
                <a:defRPr/>
              </a:pPr>
              <a:r>
                <a:rPr lang="pl-PL" sz="2000" dirty="0">
                  <a:latin typeface="Arial" panose="020B0604020202020204" pitchFamily="34" charset="0"/>
                  <a:cs typeface="Arial" panose="020B0604020202020204" pitchFamily="34" charset="0"/>
                </a:rPr>
                <a:t>Obowiązkowe</a:t>
              </a:r>
              <a:endParaRPr lang="pl-PL" sz="2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5" name="Grupa 54">
            <a:extLst>
              <a:ext uri="{FF2B5EF4-FFF2-40B4-BE49-F238E27FC236}">
                <a16:creationId xmlns:a16="http://schemas.microsoft.com/office/drawing/2014/main" id="{7E2E3D63-1F39-417C-869C-4C0F1F70C06A}"/>
              </a:ext>
            </a:extLst>
          </p:cNvPr>
          <p:cNvGrpSpPr/>
          <p:nvPr/>
        </p:nvGrpSpPr>
        <p:grpSpPr>
          <a:xfrm>
            <a:off x="7431297" y="1928342"/>
            <a:ext cx="3315577" cy="3870532"/>
            <a:chOff x="7431297" y="2261883"/>
            <a:chExt cx="3315577" cy="3870532"/>
          </a:xfrm>
        </p:grpSpPr>
        <p:grpSp>
          <p:nvGrpSpPr>
            <p:cNvPr id="56" name="Grupa 19">
              <a:extLst>
                <a:ext uri="{FF2B5EF4-FFF2-40B4-BE49-F238E27FC236}">
                  <a16:creationId xmlns:a16="http://schemas.microsoft.com/office/drawing/2014/main" id="{DCADF59A-7959-4691-815C-8D3C317BD23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431297" y="2261883"/>
              <a:ext cx="2989264" cy="1678425"/>
              <a:chOff x="5596113" y="4165692"/>
              <a:chExt cx="2658419" cy="1432146"/>
            </a:xfrm>
          </p:grpSpPr>
          <p:pic>
            <p:nvPicPr>
              <p:cNvPr id="59" name="Picture 8">
                <a:extLst>
                  <a:ext uri="{FF2B5EF4-FFF2-40B4-BE49-F238E27FC236}">
                    <a16:creationId xmlns:a16="http://schemas.microsoft.com/office/drawing/2014/main" id="{5F9BBA16-E6D1-4553-A0F2-25D6625D7D0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/>
              <a:stretch>
                <a:fillRect/>
              </a:stretch>
            </p:blipFill>
            <p:spPr bwMode="auto">
              <a:xfrm>
                <a:off x="6646784" y="4337168"/>
                <a:ext cx="1607748" cy="120192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p:spPr>
          </p:pic>
          <p:pic>
            <p:nvPicPr>
              <p:cNvPr id="60" name="Picture 6">
                <a:extLst>
                  <a:ext uri="{FF2B5EF4-FFF2-40B4-BE49-F238E27FC236}">
                    <a16:creationId xmlns:a16="http://schemas.microsoft.com/office/drawing/2014/main" id="{F1D5906D-DCF6-429C-938E-BDDDCC9D0C8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5596113" y="4165692"/>
                <a:ext cx="1207795" cy="14321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p:spPr>
          </p:pic>
        </p:grpSp>
        <p:pic>
          <p:nvPicPr>
            <p:cNvPr id="57" name="Obraz 56" descr="Obraz zawierający zastawa stołowa, sosjerka&#10;&#10;Opis wygenerowany automatycznie">
              <a:extLst>
                <a:ext uri="{FF2B5EF4-FFF2-40B4-BE49-F238E27FC236}">
                  <a16:creationId xmlns:a16="http://schemas.microsoft.com/office/drawing/2014/main" id="{A27647E4-7BB4-4EB3-BF32-8C17CCC2DC0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55511" y="4210737"/>
              <a:ext cx="1714044" cy="846819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58" name="Prostokąt 57">
              <a:extLst>
                <a:ext uri="{FF2B5EF4-FFF2-40B4-BE49-F238E27FC236}">
                  <a16:creationId xmlns:a16="http://schemas.microsoft.com/office/drawing/2014/main" id="{AEB9C810-CFEA-4717-A8A2-9964AF19B7FE}"/>
                </a:ext>
              </a:extLst>
            </p:cNvPr>
            <p:cNvSpPr/>
            <p:nvPr/>
          </p:nvSpPr>
          <p:spPr>
            <a:xfrm>
              <a:off x="7775574" y="5424529"/>
              <a:ext cx="2971300" cy="70788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ct val="200000"/>
                </a:lnSpc>
                <a:spcBef>
                  <a:spcPct val="0"/>
                </a:spcBef>
                <a:defRPr/>
              </a:pPr>
              <a:r>
                <a:rPr lang="pl-PL" sz="2000" dirty="0">
                  <a:latin typeface="Arial" panose="020B0604020202020204" pitchFamily="34" charset="0"/>
                  <a:cs typeface="Arial" panose="020B0604020202020204" pitchFamily="34" charset="0"/>
                </a:rPr>
                <a:t>Dodatkowe</a:t>
              </a:r>
              <a:endParaRPr lang="pl-PL" sz="2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Tytuł 35">
            <a:extLst>
              <a:ext uri="{FF2B5EF4-FFF2-40B4-BE49-F238E27FC236}">
                <a16:creationId xmlns:a16="http://schemas.microsoft.com/office/drawing/2014/main" id="{69914E11-A656-B52D-2A21-B7C0E66A3DED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Środki ochrony indywidualnej</a:t>
            </a:r>
          </a:p>
        </p:txBody>
      </p:sp>
    </p:spTree>
    <p:extLst>
      <p:ext uri="{BB962C8B-B14F-4D97-AF65-F5344CB8AC3E}">
        <p14:creationId xmlns:p14="http://schemas.microsoft.com/office/powerpoint/2010/main" val="14768556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ole tekstowe 28"/>
          <p:cNvSpPr txBox="1"/>
          <p:nvPr/>
        </p:nvSpPr>
        <p:spPr>
          <a:xfrm>
            <a:off x="266700" y="1884872"/>
            <a:ext cx="71261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osimy środki ochrony indywidualnej, </a:t>
            </a:r>
          </a:p>
          <a:p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by uniknąć takich urazów.</a:t>
            </a:r>
            <a:endParaRPr lang="pl-PL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35" name="Picture 2051" descr="0166">
            <a:extLst>
              <a:ext uri="{FF2B5EF4-FFF2-40B4-BE49-F238E27FC236}">
                <a16:creationId xmlns:a16="http://schemas.microsoft.com/office/drawing/2014/main" id="{5C5E0CD0-10DA-475C-993D-F22CCBB6D8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73650" y="1992154"/>
            <a:ext cx="4176079" cy="1924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2052" descr="0003">
            <a:extLst>
              <a:ext uri="{FF2B5EF4-FFF2-40B4-BE49-F238E27FC236}">
                <a16:creationId xmlns:a16="http://schemas.microsoft.com/office/drawing/2014/main" id="{FB43B13D-B215-4257-95B4-066E69A61B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57775" y="3916861"/>
            <a:ext cx="3155316" cy="19685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7" descr="Znalezione obrazy dla zapytania uraz oka">
            <a:extLst>
              <a:ext uri="{FF2B5EF4-FFF2-40B4-BE49-F238E27FC236}">
                <a16:creationId xmlns:a16="http://schemas.microsoft.com/office/drawing/2014/main" id="{648B08B9-37BC-4C22-843E-C0C857FE1B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65605" y="1992154"/>
            <a:ext cx="2539030" cy="19078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9" descr="Znalezione obrazy dla zapytania silicosis">
            <a:extLst>
              <a:ext uri="{FF2B5EF4-FFF2-40B4-BE49-F238E27FC236}">
                <a16:creationId xmlns:a16="http://schemas.microsoft.com/office/drawing/2014/main" id="{EAAD9A2E-98CD-4E42-B146-B92FDA0287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213091" y="3900013"/>
            <a:ext cx="1741804" cy="1985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11" descr="Podobny obraz">
            <a:extLst>
              <a:ext uri="{FF2B5EF4-FFF2-40B4-BE49-F238E27FC236}">
                <a16:creationId xmlns:a16="http://schemas.microsoft.com/office/drawing/2014/main" id="{60039C73-009E-4BB4-AE7D-20B53708B4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40292" y="3900012"/>
            <a:ext cx="1864343" cy="1985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ytuł 35">
            <a:extLst>
              <a:ext uri="{FF2B5EF4-FFF2-40B4-BE49-F238E27FC236}">
                <a16:creationId xmlns:a16="http://schemas.microsoft.com/office/drawing/2014/main" id="{8CA171C0-E599-F7A8-B638-48811CF88851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Środki ochrony indywidualnej</a:t>
            </a:r>
          </a:p>
        </p:txBody>
      </p: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699" y="1789843"/>
            <a:ext cx="7772401" cy="36870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yndrom jest chorobą pogarszającą sprawność, która może prowadzić do całkowitej niesprawności kończyn</a:t>
            </a:r>
            <a:r>
              <a:rPr kumimoji="0" lang="pl-PL" altLang="en-US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;</a:t>
            </a:r>
            <a:endParaRPr kumimoji="0" lang="pl-PL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en-GB" altLang="en-US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Kiedy</a:t>
            </a:r>
            <a:r>
              <a:rPr lang="en-GB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perujesz</a:t>
            </a:r>
            <a:r>
              <a:rPr lang="en-GB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rządzeniami</a:t>
            </a:r>
            <a:r>
              <a:rPr lang="en-GB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GB" altLang="en-US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ibruj</a:t>
            </a: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ą</a:t>
            </a:r>
            <a:r>
              <a:rPr lang="en-GB" altLang="en-US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ymi</a:t>
            </a:r>
            <a:r>
              <a:rPr lang="en-GB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en-GB" altLang="en-US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rga</a:t>
            </a:r>
            <a:r>
              <a:rPr lang="pl-PL" altLang="en-US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jącymi</a:t>
            </a: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zachowaj ostrożność;</a:t>
            </a:r>
            <a:endParaRPr kumimoji="0" lang="en-US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żytkownik sprzętu wibrującego powinien znać wymagania dotyczące maksymalnego czasu pracy;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ależy utrzymywać kończyny w cieple aby zachować odpowiednią cyrkulację krwi;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miętaj że osoby palące są pięć razy bardziej narażone na wystąpienie syndromu białych dłoni, rekomenduje się nie </a:t>
            </a:r>
            <a:r>
              <a:rPr lang="pl-PL" altLang="en-US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lic</a:t>
            </a: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papierosów bezpośrednio przed, w trakcie i tuż po pracy z maszynami wibrującymi.</a:t>
            </a:r>
            <a:endParaRPr kumimoji="0" lang="en-GB" altLang="en-US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24" name="Picture 6" descr="Znalezione obrazy dla zapytania zageszczarka">
            <a:extLst>
              <a:ext uri="{FF2B5EF4-FFF2-40B4-BE49-F238E27FC236}">
                <a16:creationId xmlns:a16="http://schemas.microsoft.com/office/drawing/2014/main" id="{6731CE59-0081-48BA-A9C3-FD348A0F02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72475" y="955429"/>
            <a:ext cx="3474532" cy="2316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8" descr="Znalezione obrazy dla zapytania vibration white finger">
            <a:extLst>
              <a:ext uri="{FF2B5EF4-FFF2-40B4-BE49-F238E27FC236}">
                <a16:creationId xmlns:a16="http://schemas.microsoft.com/office/drawing/2014/main" id="{57F1317C-1DAA-4DB1-B108-8FCE35018D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86257" y="3540944"/>
            <a:ext cx="3460750" cy="225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ytuł 35">
            <a:extLst>
              <a:ext uri="{FF2B5EF4-FFF2-40B4-BE49-F238E27FC236}">
                <a16:creationId xmlns:a16="http://schemas.microsoft.com/office/drawing/2014/main" id="{DB05AB31-0FC4-4936-F3D0-A687BC5B268F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Drgania mechaniczne (wibracje)</a:t>
            </a:r>
          </a:p>
        </p:txBody>
      </p: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a 11"/>
          <p:cNvGrpSpPr/>
          <p:nvPr/>
        </p:nvGrpSpPr>
        <p:grpSpPr>
          <a:xfrm>
            <a:off x="8501323" y="1700025"/>
            <a:ext cx="3167363" cy="2377425"/>
            <a:chOff x="8501323" y="3471675"/>
            <a:chExt cx="3167363" cy="2377425"/>
          </a:xfrm>
        </p:grpSpPr>
        <p:pic>
          <p:nvPicPr>
            <p:cNvPr id="5" name="Obraz 4" descr="znaki.png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816148" y="4229100"/>
              <a:ext cx="1852538" cy="1620000"/>
            </a:xfrm>
            <a:prstGeom prst="rect">
              <a:avLst/>
            </a:prstGeom>
          </p:spPr>
        </p:pic>
        <p:pic>
          <p:nvPicPr>
            <p:cNvPr id="6" name="Obraz 5" descr="znaki1.png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501323" y="3471675"/>
              <a:ext cx="1620000" cy="1620000"/>
            </a:xfrm>
            <a:prstGeom prst="rect">
              <a:avLst/>
            </a:prstGeom>
          </p:spPr>
        </p:pic>
      </p:grpSp>
      <p:pic>
        <p:nvPicPr>
          <p:cNvPr id="7" name="Obraz 6" descr="znaki2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3063" y="2078737"/>
            <a:ext cx="1620000" cy="1620000"/>
          </a:xfrm>
          <a:prstGeom prst="rect">
            <a:avLst/>
          </a:prstGeom>
        </p:spPr>
      </p:pic>
      <p:pic>
        <p:nvPicPr>
          <p:cNvPr id="8" name="Obraz 7" descr="znaki3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2094" y="2078737"/>
            <a:ext cx="1852538" cy="1620000"/>
          </a:xfrm>
          <a:prstGeom prst="rect">
            <a:avLst/>
          </a:prstGeom>
        </p:spPr>
      </p:pic>
      <p:pic>
        <p:nvPicPr>
          <p:cNvPr id="9" name="Obraz 8" descr="znaki4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46213" y="2078737"/>
            <a:ext cx="1620000" cy="1620000"/>
          </a:xfrm>
          <a:prstGeom prst="rect">
            <a:avLst/>
          </a:prstGeom>
        </p:spPr>
      </p:pic>
      <p:pic>
        <p:nvPicPr>
          <p:cNvPr id="10" name="Obraz 9" descr="znaki5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4" y="2078737"/>
            <a:ext cx="1621227" cy="1620000"/>
          </a:xfrm>
          <a:prstGeom prst="rect">
            <a:avLst/>
          </a:prstGeom>
        </p:spPr>
      </p:pic>
      <p:sp>
        <p:nvSpPr>
          <p:cNvPr id="15" name="Prostokąt 14">
            <a:extLst>
              <a:ext uri="{FF2B5EF4-FFF2-40B4-BE49-F238E27FC236}">
                <a16:creationId xmlns:a16="http://schemas.microsoft.com/office/drawing/2014/main" id="{AEB9C810-CFEA-4717-A8A2-9964AF19B7FE}"/>
              </a:ext>
            </a:extLst>
          </p:cNvPr>
          <p:cNvSpPr/>
          <p:nvPr/>
        </p:nvSpPr>
        <p:spPr>
          <a:xfrm>
            <a:off x="283076" y="4183105"/>
            <a:ext cx="2041024" cy="5343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>
              <a:lnSpc>
                <a:spcPct val="200000"/>
              </a:lnSpc>
              <a:spcBef>
                <a:spcPct val="0"/>
              </a:spcBef>
              <a:defRPr/>
            </a:pPr>
            <a:r>
              <a:rPr lang="pl-PL" sz="1700" dirty="0">
                <a:latin typeface="Arial" panose="020B0604020202020204" pitchFamily="34" charset="0"/>
                <a:cs typeface="Arial" panose="020B0604020202020204" pitchFamily="34" charset="0"/>
              </a:rPr>
              <a:t>Obowiązkowe</a:t>
            </a:r>
            <a:endParaRPr lang="pl-PL" sz="1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Prostokąt 16">
            <a:extLst>
              <a:ext uri="{FF2B5EF4-FFF2-40B4-BE49-F238E27FC236}">
                <a16:creationId xmlns:a16="http://schemas.microsoft.com/office/drawing/2014/main" id="{AEB9C810-CFEA-4717-A8A2-9964AF19B7FE}"/>
              </a:ext>
            </a:extLst>
          </p:cNvPr>
          <p:cNvSpPr/>
          <p:nvPr/>
        </p:nvSpPr>
        <p:spPr>
          <a:xfrm>
            <a:off x="2235701" y="4183105"/>
            <a:ext cx="2041024" cy="5343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>
              <a:lnSpc>
                <a:spcPct val="200000"/>
              </a:lnSpc>
              <a:spcBef>
                <a:spcPct val="0"/>
              </a:spcBef>
              <a:defRPr/>
            </a:pPr>
            <a:r>
              <a:rPr lang="pl-PL" sz="1700" dirty="0">
                <a:latin typeface="Arial" panose="020B0604020202020204" pitchFamily="34" charset="0"/>
                <a:cs typeface="Arial" panose="020B0604020202020204" pitchFamily="34" charset="0"/>
              </a:rPr>
              <a:t>Zabronione</a:t>
            </a:r>
            <a:endParaRPr lang="pl-PL" sz="1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Prostokąt 17">
            <a:extLst>
              <a:ext uri="{FF2B5EF4-FFF2-40B4-BE49-F238E27FC236}">
                <a16:creationId xmlns:a16="http://schemas.microsoft.com/office/drawing/2014/main" id="{AEB9C810-CFEA-4717-A8A2-9964AF19B7FE}"/>
              </a:ext>
            </a:extLst>
          </p:cNvPr>
          <p:cNvSpPr/>
          <p:nvPr/>
        </p:nvSpPr>
        <p:spPr>
          <a:xfrm>
            <a:off x="4197851" y="4183105"/>
            <a:ext cx="2041024" cy="5343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>
              <a:lnSpc>
                <a:spcPct val="200000"/>
              </a:lnSpc>
              <a:spcBef>
                <a:spcPct val="0"/>
              </a:spcBef>
              <a:defRPr/>
            </a:pPr>
            <a:r>
              <a:rPr lang="pl-PL" sz="1700" dirty="0">
                <a:latin typeface="Arial" panose="020B0604020202020204" pitchFamily="34" charset="0"/>
                <a:cs typeface="Arial" panose="020B0604020202020204" pitchFamily="34" charset="0"/>
              </a:rPr>
              <a:t>Ostrzeżenie</a:t>
            </a:r>
            <a:endParaRPr lang="pl-PL" sz="1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Prostokąt 18">
            <a:extLst>
              <a:ext uri="{FF2B5EF4-FFF2-40B4-BE49-F238E27FC236}">
                <a16:creationId xmlns:a16="http://schemas.microsoft.com/office/drawing/2014/main" id="{AEB9C810-CFEA-4717-A8A2-9964AF19B7FE}"/>
              </a:ext>
            </a:extLst>
          </p:cNvPr>
          <p:cNvSpPr/>
          <p:nvPr/>
        </p:nvSpPr>
        <p:spPr>
          <a:xfrm>
            <a:off x="6372551" y="4183105"/>
            <a:ext cx="2041024" cy="615553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pl-PL" sz="1700" dirty="0">
                <a:latin typeface="Arial" panose="020B0604020202020204" pitchFamily="34" charset="0"/>
                <a:cs typeface="Arial" panose="020B0604020202020204" pitchFamily="34" charset="0"/>
              </a:rPr>
              <a:t>Znaki ewakuacyjne</a:t>
            </a:r>
            <a:br>
              <a:rPr lang="pl-PL" sz="17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1700" dirty="0">
                <a:latin typeface="Arial" panose="020B0604020202020204" pitchFamily="34" charset="0"/>
                <a:cs typeface="Arial" panose="020B0604020202020204" pitchFamily="34" charset="0"/>
              </a:rPr>
              <a:t>i pierwsza pomoc</a:t>
            </a:r>
            <a:endParaRPr lang="pl-PL" sz="1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Prostokąt 19">
            <a:extLst>
              <a:ext uri="{FF2B5EF4-FFF2-40B4-BE49-F238E27FC236}">
                <a16:creationId xmlns:a16="http://schemas.microsoft.com/office/drawing/2014/main" id="{AEB9C810-CFEA-4717-A8A2-9964AF19B7FE}"/>
              </a:ext>
            </a:extLst>
          </p:cNvPr>
          <p:cNvSpPr/>
          <p:nvPr/>
        </p:nvSpPr>
        <p:spPr>
          <a:xfrm>
            <a:off x="9064492" y="4183105"/>
            <a:ext cx="2041024" cy="5343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>
              <a:lnSpc>
                <a:spcPct val="200000"/>
              </a:lnSpc>
              <a:spcBef>
                <a:spcPct val="0"/>
              </a:spcBef>
              <a:defRPr/>
            </a:pPr>
            <a:r>
              <a:rPr lang="pl-PL" sz="1700" dirty="0">
                <a:latin typeface="Arial" panose="020B0604020202020204" pitchFamily="34" charset="0"/>
                <a:cs typeface="Arial" panose="020B0604020202020204" pitchFamily="34" charset="0"/>
              </a:rPr>
              <a:t>Znaki łączone</a:t>
            </a:r>
            <a:endParaRPr lang="pl-PL" sz="1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ytuł 35">
            <a:extLst>
              <a:ext uri="{FF2B5EF4-FFF2-40B4-BE49-F238E27FC236}">
                <a16:creationId xmlns:a16="http://schemas.microsoft.com/office/drawing/2014/main" id="{80F72402-40B7-99E3-6320-8176806E982B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Oznakowanie (informacyjne, zakazu, ostrzegawcze)</a:t>
            </a:r>
          </a:p>
        </p:txBody>
      </p: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ole tekstowe 40"/>
          <p:cNvSpPr txBox="1"/>
          <p:nvPr/>
        </p:nvSpPr>
        <p:spPr>
          <a:xfrm>
            <a:off x="285673" y="2129421"/>
            <a:ext cx="115141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>
                <a:latin typeface="Arial" pitchFamily="34" charset="0"/>
                <a:cs typeface="Arial" pitchFamily="34" charset="0"/>
              </a:rPr>
              <a:t>Co miesiąc, za wyróżnianie się bezpieczną pracą i zaangażowaniem na rzecz poprawy BHP, wybrani pracownicy produkcyjni naszych Wykonawców, otrzymują od </a:t>
            </a:r>
            <a:r>
              <a:rPr lang="pl-PL" dirty="0" err="1">
                <a:latin typeface="Arial" pitchFamily="34" charset="0"/>
                <a:cs typeface="Arial" pitchFamily="34" charset="0"/>
              </a:rPr>
              <a:t>Archicom</a:t>
            </a:r>
            <a:r>
              <a:rPr lang="pl-PL" dirty="0">
                <a:latin typeface="Arial" pitchFamily="34" charset="0"/>
                <a:cs typeface="Arial" pitchFamily="34" charset="0"/>
              </a:rPr>
              <a:t> cenne nagrody rzeczowe.</a:t>
            </a:r>
          </a:p>
        </p:txBody>
      </p:sp>
      <p:pic>
        <p:nvPicPr>
          <p:cNvPr id="43" name="Obraz 42">
            <a:extLst>
              <a:ext uri="{FF2B5EF4-FFF2-40B4-BE49-F238E27FC236}">
                <a16:creationId xmlns:a16="http://schemas.microsoft.com/office/drawing/2014/main" id="{9C50C851-6EA3-48A9-AE07-7F54E64CF4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5673" y="3566873"/>
            <a:ext cx="3398951" cy="2426970"/>
          </a:xfrm>
          <a:prstGeom prst="rect">
            <a:avLst/>
          </a:prstGeom>
        </p:spPr>
      </p:pic>
      <p:pic>
        <p:nvPicPr>
          <p:cNvPr id="45" name="Obraz 44">
            <a:extLst>
              <a:ext uri="{FF2B5EF4-FFF2-40B4-BE49-F238E27FC236}">
                <a16:creationId xmlns:a16="http://schemas.microsoft.com/office/drawing/2014/main" id="{2E7769EF-4086-4BC1-B920-536AA80D1EB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953899" y="3492843"/>
            <a:ext cx="2085033" cy="2501000"/>
          </a:xfrm>
          <a:prstGeom prst="rect">
            <a:avLst/>
          </a:prstGeom>
        </p:spPr>
      </p:pic>
      <p:pic>
        <p:nvPicPr>
          <p:cNvPr id="47" name="Obraz 46">
            <a:extLst>
              <a:ext uri="{FF2B5EF4-FFF2-40B4-BE49-F238E27FC236}">
                <a16:creationId xmlns:a16="http://schemas.microsoft.com/office/drawing/2014/main" id="{F8B79980-B109-4FAC-81BF-B8550871156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75913" y="4250553"/>
            <a:ext cx="4040174" cy="985579"/>
          </a:xfrm>
          <a:prstGeom prst="rect">
            <a:avLst/>
          </a:prstGeom>
        </p:spPr>
      </p:pic>
      <p:sp>
        <p:nvSpPr>
          <p:cNvPr id="4" name="Tytuł 35">
            <a:extLst>
              <a:ext uri="{FF2B5EF4-FFF2-40B4-BE49-F238E27FC236}">
                <a16:creationId xmlns:a16="http://schemas.microsoft.com/office/drawing/2014/main" id="{C7D47ACD-AD0E-4B2F-88DA-3963C5F70260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Nagrody dla pracownik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za bezpieczną pracę i przestrzeganie BHP</a:t>
            </a:r>
          </a:p>
        </p:txBody>
      </p:sp>
    </p:spTree>
    <p:extLst>
      <p:ext uri="{BB962C8B-B14F-4D97-AF65-F5344CB8AC3E}">
        <p14:creationId xmlns:p14="http://schemas.microsoft.com/office/powerpoint/2010/main" val="163389522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rostokąt 2">
            <a:extLst>
              <a:ext uri="{FF2B5EF4-FFF2-40B4-BE49-F238E27FC236}">
                <a16:creationId xmlns:a16="http://schemas.microsoft.com/office/drawing/2014/main" id="{15361252-072B-4689-AEBE-0653DB3FF140}"/>
              </a:ext>
            </a:extLst>
          </p:cNvPr>
          <p:cNvSpPr/>
          <p:nvPr/>
        </p:nvSpPr>
        <p:spPr>
          <a:xfrm>
            <a:off x="403420" y="1868129"/>
            <a:ext cx="4561871" cy="1686532"/>
          </a:xfrm>
          <a:prstGeom prst="rect">
            <a:avLst/>
          </a:prstGeom>
        </p:spPr>
        <p:txBody>
          <a:bodyPr wrap="square" lIns="144000">
            <a:norm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 Cond" panose="020B0506020202020204" pitchFamily="34" charset="0"/>
              </a:rPr>
              <a:t>Każdy pracownik ma możliwość zgłoszenia i zapisania swoich uwag, wniosków, propozycji zmian na tablicy zgłoszeń.  </a:t>
            </a:r>
          </a:p>
        </p:txBody>
      </p:sp>
      <p:pic>
        <p:nvPicPr>
          <p:cNvPr id="33" name="Obraz 32">
            <a:extLst>
              <a:ext uri="{FF2B5EF4-FFF2-40B4-BE49-F238E27FC236}">
                <a16:creationId xmlns:a16="http://schemas.microsoft.com/office/drawing/2014/main" id="{F675656A-B12B-4F46-BA85-F505DBF1862C}"/>
              </a:ext>
            </a:extLst>
          </p:cNvPr>
          <p:cNvPicPr>
            <a:picLocks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884"/>
          <a:stretch/>
        </p:blipFill>
        <p:spPr>
          <a:xfrm>
            <a:off x="5295014" y="2073349"/>
            <a:ext cx="6663069" cy="3891517"/>
          </a:xfrm>
          <a:prstGeom prst="rect">
            <a:avLst/>
          </a:prstGeom>
        </p:spPr>
      </p:pic>
      <p:sp>
        <p:nvSpPr>
          <p:cNvPr id="36" name="Tytuł 35">
            <a:extLst>
              <a:ext uri="{FF2B5EF4-FFF2-40B4-BE49-F238E27FC236}">
                <a16:creationId xmlns:a16="http://schemas.microsoft.com/office/drawing/2014/main" id="{B927328F-B6AD-2B52-4374-43F688E15BE9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ablica zgłoszeń BHP</a:t>
            </a:r>
          </a:p>
        </p:txBody>
      </p:sp>
    </p:spTree>
    <p:extLst>
      <p:ext uri="{BB962C8B-B14F-4D97-AF65-F5344CB8AC3E}">
        <p14:creationId xmlns:p14="http://schemas.microsoft.com/office/powerpoint/2010/main" val="427892906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Znalezione obrazy dla zapytania paragraf">
            <a:extLst>
              <a:ext uri="{FF2B5EF4-FFF2-40B4-BE49-F238E27FC236}">
                <a16:creationId xmlns:a16="http://schemas.microsoft.com/office/drawing/2014/main" id="{77D42517-EF74-4CC3-91D4-EC078FAEE0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68631" y="1801649"/>
            <a:ext cx="3082221" cy="3082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700" y="1789843"/>
            <a:ext cx="7773120" cy="30364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ersonel</a:t>
            </a:r>
            <a:r>
              <a:rPr kumimoji="0" lang="pl-PL" altLang="en-US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kumimoji="0" lang="pl-PL" altLang="en-US" b="0" i="0" u="none" strike="noStrike" kern="120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rchicom</a:t>
            </a:r>
            <a:r>
              <a:rPr kumimoji="0" lang="pl-PL" altLang="en-US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podejmie reakcję w stosunku do osób lub firm zaangażowanych w:</a:t>
            </a:r>
          </a:p>
          <a:p>
            <a:pPr marL="685794" lvl="1" indent="-228594" defTabSz="914377">
              <a:spcBef>
                <a:spcPct val="30000"/>
              </a:spcBef>
              <a:buFont typeface="Arial" pitchFamily="34" charset="0"/>
              <a:buChar char="‒"/>
            </a:pPr>
            <a:r>
              <a:rPr lang="pl-PL" altLang="en-US" baseline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iebezpieczne praktyki, łamanie przepisów BHP na projekcie,</a:t>
            </a:r>
          </a:p>
          <a:p>
            <a:pPr marL="685794" lvl="1" indent="-228594" defTabSz="914377">
              <a:spcBef>
                <a:spcPct val="30000"/>
              </a:spcBef>
              <a:buFont typeface="Arial" pitchFamily="34" charset="0"/>
              <a:buChar char="‒"/>
            </a:pPr>
            <a:r>
              <a:rPr kumimoji="0" lang="pl-PL" altLang="en-US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niezgodności z ustalonymi zasadami.</a:t>
            </a:r>
            <a:endParaRPr kumimoji="0" lang="pl-PL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algn="just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osowne pismo z opisem naruszenia zostanie wysłany do Kierownika, a pracownik nieprzestrzegający zasad zostanie poddany ponownemu przeszkoleniu w zakresie popełnionego wykroczenia </a:t>
            </a:r>
            <a:r>
              <a:rPr lang="pl-PL" altLang="en-US" dirty="0">
                <a:solidFill>
                  <a:srgbClr val="00000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(żółta kartka)</a:t>
            </a: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;</a:t>
            </a:r>
            <a:endParaRPr kumimoji="0" lang="en-US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owtarzające się nieprawidłowe zachowania oraz poważne naruszenia zasad będą skutkowały usunięciem z projektu </a:t>
            </a:r>
            <a:r>
              <a:rPr lang="pl-PL" altLang="en-US" dirty="0">
                <a:solidFill>
                  <a:srgbClr val="000000"/>
                </a:solidFill>
                <a:highlight>
                  <a:srgbClr val="FB2F0D"/>
                </a:highlight>
                <a:latin typeface="Arial" pitchFamily="34" charset="0"/>
                <a:cs typeface="Arial" pitchFamily="34" charset="0"/>
              </a:rPr>
              <a:t>(czerwona kartka)</a:t>
            </a: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;</a:t>
            </a:r>
            <a:endParaRPr kumimoji="0" lang="en-GB" altLang="en-US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ytuł 35">
            <a:extLst>
              <a:ext uri="{FF2B5EF4-FFF2-40B4-BE49-F238E27FC236}">
                <a16:creationId xmlns:a16="http://schemas.microsoft.com/office/drawing/2014/main" id="{E721293A-2023-333A-C81A-57E47910423A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Naruszenie i łamanie zasad BHP 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Konsekwencje</a:t>
            </a:r>
          </a:p>
        </p:txBody>
      </p: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Obraz 15" descr="269631-P57X0U-496-02.pn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317"/>
          <a:stretch/>
        </p:blipFill>
        <p:spPr>
          <a:xfrm>
            <a:off x="0" y="835802"/>
            <a:ext cx="12191999" cy="5504966"/>
          </a:xfrm>
          <a:prstGeom prst="rect">
            <a:avLst/>
          </a:prstGeom>
        </p:spPr>
      </p:pic>
      <p:sp>
        <p:nvSpPr>
          <p:cNvPr id="7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344337" y="1553475"/>
            <a:ext cx="10818963" cy="3532875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/>
          <a:p>
            <a:pPr marL="228594" indent="-228594" algn="just" defTabSz="914377">
              <a:lnSpc>
                <a:spcPct val="150000"/>
              </a:lnSpc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ależy stosować się do wszystkich oznaczeń</a:t>
            </a: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;</a:t>
            </a:r>
          </a:p>
          <a:p>
            <a:pPr marL="228594" indent="-228594" algn="just" defTabSz="914377">
              <a:lnSpc>
                <a:spcPct val="110000"/>
              </a:lnSpc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rogi dostępowe, ciągi komunikacyjne muszą pozostać przejezdne i uporządkowane na wypadek sytuacji ratunkowych</a:t>
            </a: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;</a:t>
            </a:r>
            <a:endParaRPr kumimoji="0" lang="en-US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algn="just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dpowiednia odzież wymagana jest podczas przebywania na budowie</a:t>
            </a: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;</a:t>
            </a:r>
          </a:p>
          <a:p>
            <a:pPr marL="228594" indent="-228594" algn="just" defTabSz="914377">
              <a:lnSpc>
                <a:spcPct val="150000"/>
              </a:lnSpc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Zaplecze socjalne i sanitarne należy utrzymywać w czystości,</a:t>
            </a:r>
            <a:endParaRPr kumimoji="0" lang="pl-PL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algn="just" defTabSz="914377">
              <a:lnSpc>
                <a:spcPct val="110000"/>
              </a:lnSpc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Zabrania się „załatwiania” swoich potrzeb na budowie, należy wykorzystać przeznaczone do tego miejsca</a:t>
            </a: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;</a:t>
            </a:r>
          </a:p>
          <a:p>
            <a:pPr marL="228594" indent="-228594" algn="just" defTabSz="914377">
              <a:lnSpc>
                <a:spcPct val="150000"/>
              </a:lnSpc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lenie dozwolone jest w wyznaczonych miejscach.</a:t>
            </a:r>
            <a:endParaRPr kumimoji="0" lang="pl-PL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algn="just" defTabSz="914377">
              <a:lnSpc>
                <a:spcPct val="150000"/>
              </a:lnSpc>
              <a:spcBef>
                <a:spcPct val="30000"/>
              </a:spcBef>
            </a:pPr>
            <a:r>
              <a:rPr kumimoji="0" lang="en-GB" altLang="en-US" b="1" i="0" u="none" strike="noStrike" kern="1200" cap="none" spc="0" normalizeH="0" baseline="0" noProof="0" dirty="0">
                <a:ln>
                  <a:noFill/>
                </a:ln>
                <a:solidFill>
                  <a:srgbClr val="E71515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	</a:t>
            </a:r>
            <a:endParaRPr kumimoji="0" lang="en-GB" altLang="en-US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8" name="Group 3">
            <a:extLst>
              <a:ext uri="{FF2B5EF4-FFF2-40B4-BE49-F238E27FC236}">
                <a16:creationId xmlns:a16="http://schemas.microsoft.com/office/drawing/2014/main" id="{4FA1989F-CC01-4DAF-8362-61F5FD022AF8}"/>
              </a:ext>
            </a:extLst>
          </p:cNvPr>
          <p:cNvGrpSpPr/>
          <p:nvPr/>
        </p:nvGrpSpPr>
        <p:grpSpPr bwMode="auto">
          <a:xfrm>
            <a:off x="278232" y="6374902"/>
            <a:ext cx="1520190" cy="292100"/>
            <a:chOff x="0" y="0"/>
            <a:chExt cx="2311" cy="445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64C85F03-9495-495C-ADBA-8C6611BF8B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0"/>
              <a:ext cx="1134" cy="445"/>
            </a:xfrm>
            <a:custGeom>
              <a:avLst/>
              <a:gdLst>
                <a:gd name="T0" fmla="*/ 811 w 931"/>
                <a:gd name="T1" fmla="*/ 361 h 365"/>
                <a:gd name="T2" fmla="*/ 865 w 931"/>
                <a:gd name="T3" fmla="*/ 361 h 365"/>
                <a:gd name="T4" fmla="*/ 811 w 931"/>
                <a:gd name="T5" fmla="*/ 291 h 365"/>
                <a:gd name="T6" fmla="*/ 456 w 931"/>
                <a:gd name="T7" fmla="*/ 294 h 365"/>
                <a:gd name="T8" fmla="*/ 485 w 931"/>
                <a:gd name="T9" fmla="*/ 363 h 365"/>
                <a:gd name="T10" fmla="*/ 485 w 931"/>
                <a:gd name="T11" fmla="*/ 345 h 365"/>
                <a:gd name="T12" fmla="*/ 485 w 931"/>
                <a:gd name="T13" fmla="*/ 282 h 365"/>
                <a:gd name="T14" fmla="*/ 257 w 931"/>
                <a:gd name="T15" fmla="*/ 314 h 365"/>
                <a:gd name="T16" fmla="*/ 244 w 931"/>
                <a:gd name="T17" fmla="*/ 320 h 365"/>
                <a:gd name="T18" fmla="*/ 288 w 931"/>
                <a:gd name="T19" fmla="*/ 353 h 365"/>
                <a:gd name="T20" fmla="*/ 288 w 931"/>
                <a:gd name="T21" fmla="*/ 279 h 365"/>
                <a:gd name="T22" fmla="*/ 180 w 931"/>
                <a:gd name="T23" fmla="*/ 361 h 365"/>
                <a:gd name="T24" fmla="*/ 185 w 931"/>
                <a:gd name="T25" fmla="*/ 346 h 365"/>
                <a:gd name="T26" fmla="*/ 45 w 931"/>
                <a:gd name="T27" fmla="*/ 362 h 365"/>
                <a:gd name="T28" fmla="*/ 111 w 931"/>
                <a:gd name="T29" fmla="*/ 314 h 365"/>
                <a:gd name="T30" fmla="*/ 86 w 931"/>
                <a:gd name="T31" fmla="*/ 279 h 365"/>
                <a:gd name="T32" fmla="*/ 0 w 931"/>
                <a:gd name="T33" fmla="*/ 282 h 365"/>
                <a:gd name="T34" fmla="*/ 12 w 931"/>
                <a:gd name="T35" fmla="*/ 253 h 365"/>
                <a:gd name="T36" fmla="*/ 12 w 931"/>
                <a:gd name="T37" fmla="*/ 253 h 365"/>
                <a:gd name="T38" fmla="*/ 61 w 931"/>
                <a:gd name="T39" fmla="*/ 178 h 365"/>
                <a:gd name="T40" fmla="*/ 61 w 931"/>
                <a:gd name="T41" fmla="*/ 86 h 365"/>
                <a:gd name="T42" fmla="*/ 0 w 931"/>
                <a:gd name="T43" fmla="*/ 1 h 365"/>
                <a:gd name="T44" fmla="*/ 361 w 931"/>
                <a:gd name="T45" fmla="*/ 86 h 365"/>
                <a:gd name="T46" fmla="*/ 305 w 931"/>
                <a:gd name="T47" fmla="*/ 230 h 365"/>
                <a:gd name="T48" fmla="*/ 241 w 931"/>
                <a:gd name="T49" fmla="*/ 115 h 365"/>
                <a:gd name="T50" fmla="*/ 422 w 931"/>
                <a:gd name="T51" fmla="*/ 307 h 365"/>
                <a:gd name="T52" fmla="*/ 397 w 931"/>
                <a:gd name="T53" fmla="*/ 279 h 365"/>
                <a:gd name="T54" fmla="*/ 388 w 931"/>
                <a:gd name="T55" fmla="*/ 325 h 365"/>
                <a:gd name="T56" fmla="*/ 391 w 931"/>
                <a:gd name="T57" fmla="*/ 352 h 365"/>
                <a:gd name="T58" fmla="*/ 364 w 931"/>
                <a:gd name="T59" fmla="*/ 350 h 365"/>
                <a:gd name="T60" fmla="*/ 428 w 931"/>
                <a:gd name="T61" fmla="*/ 321 h 365"/>
                <a:gd name="T62" fmla="*/ 375 w 931"/>
                <a:gd name="T63" fmla="*/ 302 h 365"/>
                <a:gd name="T64" fmla="*/ 594 w 931"/>
                <a:gd name="T65" fmla="*/ 0 h 365"/>
                <a:gd name="T66" fmla="*/ 445 w 931"/>
                <a:gd name="T67" fmla="*/ 0 h 365"/>
                <a:gd name="T68" fmla="*/ 594 w 931"/>
                <a:gd name="T69" fmla="*/ 141 h 365"/>
                <a:gd name="T70" fmla="*/ 625 w 931"/>
                <a:gd name="T71" fmla="*/ 279 h 365"/>
                <a:gd name="T72" fmla="*/ 541 w 931"/>
                <a:gd name="T73" fmla="*/ 281 h 365"/>
                <a:gd name="T74" fmla="*/ 541 w 931"/>
                <a:gd name="T75" fmla="*/ 314 h 365"/>
                <a:gd name="T76" fmla="*/ 588 w 931"/>
                <a:gd name="T77" fmla="*/ 307 h 365"/>
                <a:gd name="T78" fmla="*/ 605 w 931"/>
                <a:gd name="T79" fmla="*/ 298 h 365"/>
                <a:gd name="T80" fmla="*/ 659 w 931"/>
                <a:gd name="T81" fmla="*/ 362 h 365"/>
                <a:gd name="T82" fmla="*/ 760 w 931"/>
                <a:gd name="T83" fmla="*/ 314 h 365"/>
                <a:gd name="T84" fmla="*/ 771 w 931"/>
                <a:gd name="T85" fmla="*/ 335 h 365"/>
                <a:gd name="T86" fmla="*/ 773 w 931"/>
                <a:gd name="T87" fmla="*/ 326 h 365"/>
                <a:gd name="T88" fmla="*/ 873 w 931"/>
                <a:gd name="T89" fmla="*/ 115 h 365"/>
                <a:gd name="T90" fmla="*/ 873 w 931"/>
                <a:gd name="T91" fmla="*/ 115 h 365"/>
                <a:gd name="T92" fmla="*/ 809 w 931"/>
                <a:gd name="T93" fmla="*/ 230 h 365"/>
                <a:gd name="T94" fmla="*/ 931 w 931"/>
                <a:gd name="T95" fmla="*/ 294 h 365"/>
                <a:gd name="T96" fmla="*/ 908 w 931"/>
                <a:gd name="T97" fmla="*/ 257 h 365"/>
                <a:gd name="T98" fmla="*/ 908 w 931"/>
                <a:gd name="T99" fmla="*/ 294 h 365"/>
                <a:gd name="T100" fmla="*/ 931 w 931"/>
                <a:gd name="T101" fmla="*/ 364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31" h="365">
                  <a:moveTo>
                    <a:pt x="811" y="281"/>
                  </a:moveTo>
                  <a:cubicBezTo>
                    <a:pt x="799" y="281"/>
                    <a:pt x="799" y="281"/>
                    <a:pt x="799" y="281"/>
                  </a:cubicBezTo>
                  <a:cubicBezTo>
                    <a:pt x="799" y="361"/>
                    <a:pt x="799" y="361"/>
                    <a:pt x="799" y="361"/>
                  </a:cubicBezTo>
                  <a:cubicBezTo>
                    <a:pt x="811" y="361"/>
                    <a:pt x="811" y="361"/>
                    <a:pt x="811" y="361"/>
                  </a:cubicBezTo>
                  <a:cubicBezTo>
                    <a:pt x="811" y="314"/>
                    <a:pt x="811" y="314"/>
                    <a:pt x="811" y="314"/>
                  </a:cubicBezTo>
                  <a:cubicBezTo>
                    <a:pt x="811" y="314"/>
                    <a:pt x="811" y="290"/>
                    <a:pt x="841" y="290"/>
                  </a:cubicBezTo>
                  <a:cubicBezTo>
                    <a:pt x="863" y="290"/>
                    <a:pt x="866" y="302"/>
                    <a:pt x="865" y="314"/>
                  </a:cubicBezTo>
                  <a:cubicBezTo>
                    <a:pt x="865" y="361"/>
                    <a:pt x="865" y="361"/>
                    <a:pt x="865" y="361"/>
                  </a:cubicBezTo>
                  <a:cubicBezTo>
                    <a:pt x="877" y="361"/>
                    <a:pt x="877" y="361"/>
                    <a:pt x="877" y="361"/>
                  </a:cubicBezTo>
                  <a:cubicBezTo>
                    <a:pt x="877" y="309"/>
                    <a:pt x="877" y="309"/>
                    <a:pt x="877" y="309"/>
                  </a:cubicBezTo>
                  <a:cubicBezTo>
                    <a:pt x="877" y="304"/>
                    <a:pt x="876" y="279"/>
                    <a:pt x="841" y="279"/>
                  </a:cubicBezTo>
                  <a:cubicBezTo>
                    <a:pt x="821" y="279"/>
                    <a:pt x="813" y="290"/>
                    <a:pt x="811" y="291"/>
                  </a:cubicBezTo>
                  <a:lnTo>
                    <a:pt x="811" y="281"/>
                  </a:lnTo>
                  <a:close/>
                  <a:moveTo>
                    <a:pt x="473" y="282"/>
                  </a:moveTo>
                  <a:cubicBezTo>
                    <a:pt x="456" y="282"/>
                    <a:pt x="456" y="282"/>
                    <a:pt x="456" y="282"/>
                  </a:cubicBezTo>
                  <a:cubicBezTo>
                    <a:pt x="456" y="294"/>
                    <a:pt x="456" y="294"/>
                    <a:pt x="456" y="294"/>
                  </a:cubicBezTo>
                  <a:cubicBezTo>
                    <a:pt x="473" y="294"/>
                    <a:pt x="473" y="294"/>
                    <a:pt x="473" y="294"/>
                  </a:cubicBezTo>
                  <a:cubicBezTo>
                    <a:pt x="473" y="342"/>
                    <a:pt x="473" y="342"/>
                    <a:pt x="473" y="342"/>
                  </a:cubicBezTo>
                  <a:cubicBezTo>
                    <a:pt x="473" y="342"/>
                    <a:pt x="473" y="351"/>
                    <a:pt x="475" y="356"/>
                  </a:cubicBezTo>
                  <a:cubicBezTo>
                    <a:pt x="477" y="359"/>
                    <a:pt x="480" y="362"/>
                    <a:pt x="485" y="363"/>
                  </a:cubicBezTo>
                  <a:cubicBezTo>
                    <a:pt x="485" y="363"/>
                    <a:pt x="490" y="364"/>
                    <a:pt x="495" y="364"/>
                  </a:cubicBezTo>
                  <a:cubicBezTo>
                    <a:pt x="495" y="353"/>
                    <a:pt x="495" y="353"/>
                    <a:pt x="495" y="353"/>
                  </a:cubicBezTo>
                  <a:cubicBezTo>
                    <a:pt x="495" y="353"/>
                    <a:pt x="491" y="353"/>
                    <a:pt x="488" y="351"/>
                  </a:cubicBezTo>
                  <a:cubicBezTo>
                    <a:pt x="485" y="350"/>
                    <a:pt x="485" y="345"/>
                    <a:pt x="485" y="345"/>
                  </a:cubicBezTo>
                  <a:cubicBezTo>
                    <a:pt x="485" y="294"/>
                    <a:pt x="485" y="294"/>
                    <a:pt x="485" y="294"/>
                  </a:cubicBezTo>
                  <a:cubicBezTo>
                    <a:pt x="495" y="294"/>
                    <a:pt x="495" y="294"/>
                    <a:pt x="495" y="294"/>
                  </a:cubicBezTo>
                  <a:cubicBezTo>
                    <a:pt x="495" y="282"/>
                    <a:pt x="495" y="282"/>
                    <a:pt x="495" y="282"/>
                  </a:cubicBezTo>
                  <a:cubicBezTo>
                    <a:pt x="485" y="282"/>
                    <a:pt x="485" y="282"/>
                    <a:pt x="485" y="282"/>
                  </a:cubicBezTo>
                  <a:cubicBezTo>
                    <a:pt x="485" y="257"/>
                    <a:pt x="485" y="257"/>
                    <a:pt x="485" y="257"/>
                  </a:cubicBezTo>
                  <a:cubicBezTo>
                    <a:pt x="473" y="257"/>
                    <a:pt x="473" y="257"/>
                    <a:pt x="473" y="257"/>
                  </a:cubicBezTo>
                  <a:lnTo>
                    <a:pt x="473" y="282"/>
                  </a:lnTo>
                  <a:close/>
                  <a:moveTo>
                    <a:pt x="257" y="314"/>
                  </a:moveTo>
                  <a:cubicBezTo>
                    <a:pt x="257" y="314"/>
                    <a:pt x="260" y="291"/>
                    <a:pt x="288" y="290"/>
                  </a:cubicBezTo>
                  <a:cubicBezTo>
                    <a:pt x="316" y="290"/>
                    <a:pt x="319" y="314"/>
                    <a:pt x="319" y="314"/>
                  </a:cubicBezTo>
                  <a:lnTo>
                    <a:pt x="257" y="314"/>
                  </a:lnTo>
                  <a:close/>
                  <a:moveTo>
                    <a:pt x="244" y="320"/>
                  </a:moveTo>
                  <a:cubicBezTo>
                    <a:pt x="244" y="337"/>
                    <a:pt x="252" y="363"/>
                    <a:pt x="288" y="364"/>
                  </a:cubicBezTo>
                  <a:cubicBezTo>
                    <a:pt x="322" y="364"/>
                    <a:pt x="329" y="338"/>
                    <a:pt x="331" y="335"/>
                  </a:cubicBezTo>
                  <a:cubicBezTo>
                    <a:pt x="318" y="335"/>
                    <a:pt x="318" y="335"/>
                    <a:pt x="318" y="335"/>
                  </a:cubicBezTo>
                  <a:cubicBezTo>
                    <a:pt x="318" y="335"/>
                    <a:pt x="313" y="354"/>
                    <a:pt x="288" y="353"/>
                  </a:cubicBezTo>
                  <a:cubicBezTo>
                    <a:pt x="276" y="352"/>
                    <a:pt x="259" y="347"/>
                    <a:pt x="257" y="326"/>
                  </a:cubicBezTo>
                  <a:cubicBezTo>
                    <a:pt x="333" y="326"/>
                    <a:pt x="333" y="326"/>
                    <a:pt x="333" y="326"/>
                  </a:cubicBezTo>
                  <a:cubicBezTo>
                    <a:pt x="333" y="326"/>
                    <a:pt x="335" y="300"/>
                    <a:pt x="314" y="286"/>
                  </a:cubicBezTo>
                  <a:cubicBezTo>
                    <a:pt x="308" y="282"/>
                    <a:pt x="300" y="279"/>
                    <a:pt x="288" y="279"/>
                  </a:cubicBezTo>
                  <a:cubicBezTo>
                    <a:pt x="288" y="279"/>
                    <a:pt x="247" y="277"/>
                    <a:pt x="244" y="320"/>
                  </a:cubicBezTo>
                  <a:moveTo>
                    <a:pt x="154" y="281"/>
                  </a:moveTo>
                  <a:cubicBezTo>
                    <a:pt x="141" y="281"/>
                    <a:pt x="141" y="281"/>
                    <a:pt x="141" y="28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190" y="361"/>
                    <a:pt x="190" y="361"/>
                    <a:pt x="190" y="361"/>
                  </a:cubicBezTo>
                  <a:cubicBezTo>
                    <a:pt x="230" y="281"/>
                    <a:pt x="230" y="281"/>
                    <a:pt x="230" y="281"/>
                  </a:cubicBezTo>
                  <a:cubicBezTo>
                    <a:pt x="216" y="281"/>
                    <a:pt x="216" y="281"/>
                    <a:pt x="216" y="281"/>
                  </a:cubicBezTo>
                  <a:cubicBezTo>
                    <a:pt x="185" y="346"/>
                    <a:pt x="185" y="346"/>
                    <a:pt x="185" y="346"/>
                  </a:cubicBezTo>
                  <a:lnTo>
                    <a:pt x="154" y="281"/>
                  </a:lnTo>
                  <a:close/>
                  <a:moveTo>
                    <a:pt x="57" y="281"/>
                  </a:moveTo>
                  <a:cubicBezTo>
                    <a:pt x="45" y="281"/>
                    <a:pt x="45" y="281"/>
                    <a:pt x="45" y="281"/>
                  </a:cubicBezTo>
                  <a:cubicBezTo>
                    <a:pt x="45" y="362"/>
                    <a:pt x="45" y="362"/>
                    <a:pt x="45" y="362"/>
                  </a:cubicBezTo>
                  <a:cubicBezTo>
                    <a:pt x="57" y="362"/>
                    <a:pt x="57" y="362"/>
                    <a:pt x="57" y="362"/>
                  </a:cubicBezTo>
                  <a:cubicBezTo>
                    <a:pt x="57" y="314"/>
                    <a:pt x="57" y="314"/>
                    <a:pt x="57" y="314"/>
                  </a:cubicBezTo>
                  <a:cubicBezTo>
                    <a:pt x="57" y="314"/>
                    <a:pt x="56" y="290"/>
                    <a:pt x="86" y="290"/>
                  </a:cubicBezTo>
                  <a:cubicBezTo>
                    <a:pt x="108" y="290"/>
                    <a:pt x="111" y="302"/>
                    <a:pt x="111" y="314"/>
                  </a:cubicBezTo>
                  <a:cubicBezTo>
                    <a:pt x="111" y="362"/>
                    <a:pt x="111" y="362"/>
                    <a:pt x="111" y="362"/>
                  </a:cubicBezTo>
                  <a:cubicBezTo>
                    <a:pt x="123" y="362"/>
                    <a:pt x="123" y="362"/>
                    <a:pt x="123" y="362"/>
                  </a:cubicBezTo>
                  <a:cubicBezTo>
                    <a:pt x="123" y="309"/>
                    <a:pt x="123" y="309"/>
                    <a:pt x="123" y="309"/>
                  </a:cubicBezTo>
                  <a:cubicBezTo>
                    <a:pt x="123" y="304"/>
                    <a:pt x="122" y="279"/>
                    <a:pt x="86" y="279"/>
                  </a:cubicBezTo>
                  <a:cubicBezTo>
                    <a:pt x="66" y="279"/>
                    <a:pt x="58" y="290"/>
                    <a:pt x="57" y="291"/>
                  </a:cubicBezTo>
                  <a:lnTo>
                    <a:pt x="57" y="281"/>
                  </a:lnTo>
                  <a:close/>
                  <a:moveTo>
                    <a:pt x="12" y="282"/>
                  </a:moveTo>
                  <a:cubicBezTo>
                    <a:pt x="0" y="282"/>
                    <a:pt x="0" y="282"/>
                    <a:pt x="0" y="282"/>
                  </a:cubicBezTo>
                  <a:cubicBezTo>
                    <a:pt x="0" y="362"/>
                    <a:pt x="0" y="362"/>
                    <a:pt x="0" y="362"/>
                  </a:cubicBezTo>
                  <a:cubicBezTo>
                    <a:pt x="12" y="362"/>
                    <a:pt x="12" y="362"/>
                    <a:pt x="12" y="362"/>
                  </a:cubicBezTo>
                  <a:lnTo>
                    <a:pt x="12" y="282"/>
                  </a:lnTo>
                  <a:close/>
                  <a:moveTo>
                    <a:pt x="12" y="253"/>
                  </a:moveTo>
                  <a:cubicBezTo>
                    <a:pt x="0" y="253"/>
                    <a:pt x="0" y="253"/>
                    <a:pt x="0" y="253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12" y="274"/>
                    <a:pt x="12" y="274"/>
                    <a:pt x="12" y="274"/>
                  </a:cubicBezTo>
                  <a:lnTo>
                    <a:pt x="12" y="253"/>
                  </a:lnTo>
                  <a:close/>
                  <a:moveTo>
                    <a:pt x="0" y="230"/>
                  </a:moveTo>
                  <a:cubicBezTo>
                    <a:pt x="166" y="230"/>
                    <a:pt x="166" y="230"/>
                    <a:pt x="166" y="230"/>
                  </a:cubicBezTo>
                  <a:cubicBezTo>
                    <a:pt x="166" y="178"/>
                    <a:pt x="166" y="178"/>
                    <a:pt x="166" y="178"/>
                  </a:cubicBezTo>
                  <a:cubicBezTo>
                    <a:pt x="61" y="178"/>
                    <a:pt x="61" y="178"/>
                    <a:pt x="61" y="178"/>
                  </a:cubicBezTo>
                  <a:cubicBezTo>
                    <a:pt x="61" y="133"/>
                    <a:pt x="61" y="133"/>
                    <a:pt x="61" y="133"/>
                  </a:cubicBezTo>
                  <a:cubicBezTo>
                    <a:pt x="150" y="133"/>
                    <a:pt x="150" y="133"/>
                    <a:pt x="150" y="133"/>
                  </a:cubicBezTo>
                  <a:cubicBezTo>
                    <a:pt x="150" y="86"/>
                    <a:pt x="150" y="86"/>
                    <a:pt x="150" y="86"/>
                  </a:cubicBezTo>
                  <a:cubicBezTo>
                    <a:pt x="61" y="86"/>
                    <a:pt x="61" y="86"/>
                    <a:pt x="61" y="86"/>
                  </a:cubicBezTo>
                  <a:cubicBezTo>
                    <a:pt x="61" y="50"/>
                    <a:pt x="61" y="50"/>
                    <a:pt x="61" y="50"/>
                  </a:cubicBezTo>
                  <a:cubicBezTo>
                    <a:pt x="163" y="50"/>
                    <a:pt x="163" y="50"/>
                    <a:pt x="163" y="50"/>
                  </a:cubicBezTo>
                  <a:cubicBezTo>
                    <a:pt x="163" y="1"/>
                    <a:pt x="163" y="1"/>
                    <a:pt x="163" y="1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0" y="230"/>
                  </a:lnTo>
                  <a:close/>
                  <a:moveTo>
                    <a:pt x="241" y="115"/>
                  </a:moveTo>
                  <a:cubicBezTo>
                    <a:pt x="241" y="82"/>
                    <a:pt x="270" y="55"/>
                    <a:pt x="305" y="55"/>
                  </a:cubicBezTo>
                  <a:cubicBezTo>
                    <a:pt x="329" y="55"/>
                    <a:pt x="350" y="68"/>
                    <a:pt x="361" y="86"/>
                  </a:cubicBezTo>
                  <a:cubicBezTo>
                    <a:pt x="413" y="62"/>
                    <a:pt x="413" y="62"/>
                    <a:pt x="413" y="62"/>
                  </a:cubicBezTo>
                  <a:cubicBezTo>
                    <a:pt x="392" y="25"/>
                    <a:pt x="352" y="0"/>
                    <a:pt x="305" y="0"/>
                  </a:cubicBezTo>
                  <a:cubicBezTo>
                    <a:pt x="238" y="0"/>
                    <a:pt x="184" y="52"/>
                    <a:pt x="184" y="115"/>
                  </a:cubicBezTo>
                  <a:cubicBezTo>
                    <a:pt x="184" y="178"/>
                    <a:pt x="238" y="230"/>
                    <a:pt x="305" y="230"/>
                  </a:cubicBezTo>
                  <a:cubicBezTo>
                    <a:pt x="353" y="230"/>
                    <a:pt x="394" y="204"/>
                    <a:pt x="414" y="166"/>
                  </a:cubicBezTo>
                  <a:cubicBezTo>
                    <a:pt x="362" y="143"/>
                    <a:pt x="362" y="143"/>
                    <a:pt x="362" y="143"/>
                  </a:cubicBezTo>
                  <a:cubicBezTo>
                    <a:pt x="351" y="163"/>
                    <a:pt x="330" y="175"/>
                    <a:pt x="305" y="175"/>
                  </a:cubicBezTo>
                  <a:cubicBezTo>
                    <a:pt x="270" y="175"/>
                    <a:pt x="241" y="148"/>
                    <a:pt x="241" y="115"/>
                  </a:cubicBezTo>
                  <a:moveTo>
                    <a:pt x="375" y="302"/>
                  </a:moveTo>
                  <a:cubicBezTo>
                    <a:pt x="375" y="298"/>
                    <a:pt x="377" y="294"/>
                    <a:pt x="384" y="292"/>
                  </a:cubicBezTo>
                  <a:cubicBezTo>
                    <a:pt x="392" y="289"/>
                    <a:pt x="405" y="290"/>
                    <a:pt x="412" y="292"/>
                  </a:cubicBezTo>
                  <a:cubicBezTo>
                    <a:pt x="418" y="295"/>
                    <a:pt x="422" y="299"/>
                    <a:pt x="422" y="307"/>
                  </a:cubicBezTo>
                  <a:cubicBezTo>
                    <a:pt x="434" y="307"/>
                    <a:pt x="434" y="307"/>
                    <a:pt x="434" y="307"/>
                  </a:cubicBezTo>
                  <a:cubicBezTo>
                    <a:pt x="434" y="307"/>
                    <a:pt x="434" y="300"/>
                    <a:pt x="431" y="294"/>
                  </a:cubicBezTo>
                  <a:cubicBezTo>
                    <a:pt x="429" y="289"/>
                    <a:pt x="424" y="285"/>
                    <a:pt x="418" y="282"/>
                  </a:cubicBezTo>
                  <a:cubicBezTo>
                    <a:pt x="412" y="280"/>
                    <a:pt x="404" y="279"/>
                    <a:pt x="397" y="279"/>
                  </a:cubicBezTo>
                  <a:cubicBezTo>
                    <a:pt x="380" y="279"/>
                    <a:pt x="373" y="285"/>
                    <a:pt x="371" y="286"/>
                  </a:cubicBezTo>
                  <a:cubicBezTo>
                    <a:pt x="367" y="289"/>
                    <a:pt x="361" y="297"/>
                    <a:pt x="363" y="307"/>
                  </a:cubicBezTo>
                  <a:cubicBezTo>
                    <a:pt x="365" y="318"/>
                    <a:pt x="374" y="321"/>
                    <a:pt x="377" y="322"/>
                  </a:cubicBezTo>
                  <a:cubicBezTo>
                    <a:pt x="380" y="324"/>
                    <a:pt x="385" y="324"/>
                    <a:pt x="388" y="325"/>
                  </a:cubicBezTo>
                  <a:cubicBezTo>
                    <a:pt x="394" y="325"/>
                    <a:pt x="411" y="328"/>
                    <a:pt x="411" y="328"/>
                  </a:cubicBezTo>
                  <a:cubicBezTo>
                    <a:pt x="411" y="328"/>
                    <a:pt x="421" y="328"/>
                    <a:pt x="424" y="334"/>
                  </a:cubicBezTo>
                  <a:cubicBezTo>
                    <a:pt x="426" y="339"/>
                    <a:pt x="425" y="346"/>
                    <a:pt x="418" y="350"/>
                  </a:cubicBezTo>
                  <a:cubicBezTo>
                    <a:pt x="410" y="352"/>
                    <a:pt x="402" y="353"/>
                    <a:pt x="391" y="352"/>
                  </a:cubicBezTo>
                  <a:cubicBezTo>
                    <a:pt x="382" y="351"/>
                    <a:pt x="377" y="348"/>
                    <a:pt x="374" y="343"/>
                  </a:cubicBezTo>
                  <a:cubicBezTo>
                    <a:pt x="372" y="340"/>
                    <a:pt x="372" y="337"/>
                    <a:pt x="371" y="334"/>
                  </a:cubicBezTo>
                  <a:cubicBezTo>
                    <a:pt x="359" y="334"/>
                    <a:pt x="359" y="334"/>
                    <a:pt x="359" y="334"/>
                  </a:cubicBezTo>
                  <a:cubicBezTo>
                    <a:pt x="360" y="337"/>
                    <a:pt x="360" y="344"/>
                    <a:pt x="364" y="350"/>
                  </a:cubicBezTo>
                  <a:cubicBezTo>
                    <a:pt x="369" y="356"/>
                    <a:pt x="374" y="360"/>
                    <a:pt x="381" y="362"/>
                  </a:cubicBezTo>
                  <a:cubicBezTo>
                    <a:pt x="391" y="365"/>
                    <a:pt x="409" y="364"/>
                    <a:pt x="418" y="362"/>
                  </a:cubicBezTo>
                  <a:cubicBezTo>
                    <a:pt x="429" y="359"/>
                    <a:pt x="434" y="353"/>
                    <a:pt x="437" y="344"/>
                  </a:cubicBezTo>
                  <a:cubicBezTo>
                    <a:pt x="437" y="339"/>
                    <a:pt x="439" y="328"/>
                    <a:pt x="428" y="321"/>
                  </a:cubicBezTo>
                  <a:cubicBezTo>
                    <a:pt x="425" y="319"/>
                    <a:pt x="421" y="318"/>
                    <a:pt x="417" y="317"/>
                  </a:cubicBezTo>
                  <a:cubicBezTo>
                    <a:pt x="413" y="316"/>
                    <a:pt x="406" y="315"/>
                    <a:pt x="400" y="314"/>
                  </a:cubicBezTo>
                  <a:cubicBezTo>
                    <a:pt x="392" y="313"/>
                    <a:pt x="386" y="312"/>
                    <a:pt x="386" y="312"/>
                  </a:cubicBezTo>
                  <a:cubicBezTo>
                    <a:pt x="386" y="312"/>
                    <a:pt x="374" y="311"/>
                    <a:pt x="375" y="302"/>
                  </a:cubicBezTo>
                  <a:moveTo>
                    <a:pt x="594" y="230"/>
                  </a:moveTo>
                  <a:cubicBezTo>
                    <a:pt x="654" y="230"/>
                    <a:pt x="654" y="230"/>
                    <a:pt x="654" y="230"/>
                  </a:cubicBezTo>
                  <a:cubicBezTo>
                    <a:pt x="654" y="0"/>
                    <a:pt x="654" y="0"/>
                    <a:pt x="654" y="0"/>
                  </a:cubicBezTo>
                  <a:cubicBezTo>
                    <a:pt x="594" y="0"/>
                    <a:pt x="594" y="0"/>
                    <a:pt x="594" y="0"/>
                  </a:cubicBezTo>
                  <a:cubicBezTo>
                    <a:pt x="594" y="87"/>
                    <a:pt x="594" y="87"/>
                    <a:pt x="594" y="87"/>
                  </a:cubicBezTo>
                  <a:cubicBezTo>
                    <a:pt x="506" y="87"/>
                    <a:pt x="506" y="87"/>
                    <a:pt x="506" y="87"/>
                  </a:cubicBezTo>
                  <a:cubicBezTo>
                    <a:pt x="506" y="0"/>
                    <a:pt x="506" y="0"/>
                    <a:pt x="506" y="0"/>
                  </a:cubicBezTo>
                  <a:cubicBezTo>
                    <a:pt x="445" y="0"/>
                    <a:pt x="445" y="0"/>
                    <a:pt x="445" y="0"/>
                  </a:cubicBezTo>
                  <a:cubicBezTo>
                    <a:pt x="445" y="230"/>
                    <a:pt x="445" y="230"/>
                    <a:pt x="445" y="230"/>
                  </a:cubicBezTo>
                  <a:cubicBezTo>
                    <a:pt x="506" y="230"/>
                    <a:pt x="506" y="230"/>
                    <a:pt x="506" y="230"/>
                  </a:cubicBezTo>
                  <a:cubicBezTo>
                    <a:pt x="506" y="141"/>
                    <a:pt x="506" y="141"/>
                    <a:pt x="506" y="141"/>
                  </a:cubicBezTo>
                  <a:cubicBezTo>
                    <a:pt x="594" y="141"/>
                    <a:pt x="594" y="141"/>
                    <a:pt x="594" y="141"/>
                  </a:cubicBezTo>
                  <a:lnTo>
                    <a:pt x="594" y="230"/>
                  </a:lnTo>
                  <a:close/>
                  <a:moveTo>
                    <a:pt x="659" y="307"/>
                  </a:moveTo>
                  <a:cubicBezTo>
                    <a:pt x="659" y="307"/>
                    <a:pt x="660" y="292"/>
                    <a:pt x="647" y="284"/>
                  </a:cubicBezTo>
                  <a:cubicBezTo>
                    <a:pt x="642" y="281"/>
                    <a:pt x="633" y="279"/>
                    <a:pt x="625" y="279"/>
                  </a:cubicBezTo>
                  <a:cubicBezTo>
                    <a:pt x="616" y="279"/>
                    <a:pt x="604" y="281"/>
                    <a:pt x="597" y="293"/>
                  </a:cubicBezTo>
                  <a:cubicBezTo>
                    <a:pt x="591" y="282"/>
                    <a:pt x="580" y="279"/>
                    <a:pt x="568" y="279"/>
                  </a:cubicBezTo>
                  <a:cubicBezTo>
                    <a:pt x="556" y="279"/>
                    <a:pt x="548" y="283"/>
                    <a:pt x="541" y="289"/>
                  </a:cubicBezTo>
                  <a:cubicBezTo>
                    <a:pt x="541" y="281"/>
                    <a:pt x="541" y="281"/>
                    <a:pt x="541" y="281"/>
                  </a:cubicBezTo>
                  <a:cubicBezTo>
                    <a:pt x="529" y="281"/>
                    <a:pt x="529" y="281"/>
                    <a:pt x="529" y="281"/>
                  </a:cubicBezTo>
                  <a:cubicBezTo>
                    <a:pt x="529" y="362"/>
                    <a:pt x="529" y="362"/>
                    <a:pt x="529" y="362"/>
                  </a:cubicBezTo>
                  <a:cubicBezTo>
                    <a:pt x="541" y="362"/>
                    <a:pt x="541" y="362"/>
                    <a:pt x="541" y="362"/>
                  </a:cubicBezTo>
                  <a:cubicBezTo>
                    <a:pt x="541" y="314"/>
                    <a:pt x="541" y="314"/>
                    <a:pt x="541" y="314"/>
                  </a:cubicBezTo>
                  <a:cubicBezTo>
                    <a:pt x="541" y="314"/>
                    <a:pt x="541" y="300"/>
                    <a:pt x="553" y="294"/>
                  </a:cubicBezTo>
                  <a:cubicBezTo>
                    <a:pt x="557" y="291"/>
                    <a:pt x="561" y="290"/>
                    <a:pt x="567" y="290"/>
                  </a:cubicBezTo>
                  <a:cubicBezTo>
                    <a:pt x="577" y="290"/>
                    <a:pt x="583" y="294"/>
                    <a:pt x="585" y="298"/>
                  </a:cubicBezTo>
                  <a:cubicBezTo>
                    <a:pt x="588" y="302"/>
                    <a:pt x="588" y="306"/>
                    <a:pt x="588" y="307"/>
                  </a:cubicBezTo>
                  <a:cubicBezTo>
                    <a:pt x="588" y="362"/>
                    <a:pt x="588" y="362"/>
                    <a:pt x="588" y="362"/>
                  </a:cubicBezTo>
                  <a:cubicBezTo>
                    <a:pt x="600" y="362"/>
                    <a:pt x="600" y="362"/>
                    <a:pt x="600" y="362"/>
                  </a:cubicBezTo>
                  <a:cubicBezTo>
                    <a:pt x="600" y="311"/>
                    <a:pt x="600" y="311"/>
                    <a:pt x="600" y="311"/>
                  </a:cubicBezTo>
                  <a:cubicBezTo>
                    <a:pt x="600" y="311"/>
                    <a:pt x="600" y="303"/>
                    <a:pt x="605" y="298"/>
                  </a:cubicBezTo>
                  <a:cubicBezTo>
                    <a:pt x="609" y="294"/>
                    <a:pt x="615" y="290"/>
                    <a:pt x="625" y="290"/>
                  </a:cubicBezTo>
                  <a:cubicBezTo>
                    <a:pt x="646" y="291"/>
                    <a:pt x="646" y="304"/>
                    <a:pt x="647" y="307"/>
                  </a:cubicBezTo>
                  <a:cubicBezTo>
                    <a:pt x="647" y="362"/>
                    <a:pt x="647" y="362"/>
                    <a:pt x="647" y="362"/>
                  </a:cubicBezTo>
                  <a:cubicBezTo>
                    <a:pt x="659" y="362"/>
                    <a:pt x="659" y="362"/>
                    <a:pt x="659" y="362"/>
                  </a:cubicBezTo>
                  <a:lnTo>
                    <a:pt x="659" y="307"/>
                  </a:lnTo>
                  <a:close/>
                  <a:moveTo>
                    <a:pt x="698" y="314"/>
                  </a:moveTo>
                  <a:cubicBezTo>
                    <a:pt x="698" y="314"/>
                    <a:pt x="701" y="291"/>
                    <a:pt x="729" y="290"/>
                  </a:cubicBezTo>
                  <a:cubicBezTo>
                    <a:pt x="756" y="290"/>
                    <a:pt x="760" y="314"/>
                    <a:pt x="760" y="314"/>
                  </a:cubicBezTo>
                  <a:lnTo>
                    <a:pt x="698" y="314"/>
                  </a:lnTo>
                  <a:close/>
                  <a:moveTo>
                    <a:pt x="685" y="320"/>
                  </a:moveTo>
                  <a:cubicBezTo>
                    <a:pt x="684" y="337"/>
                    <a:pt x="693" y="363"/>
                    <a:pt x="729" y="364"/>
                  </a:cubicBezTo>
                  <a:cubicBezTo>
                    <a:pt x="762" y="364"/>
                    <a:pt x="770" y="338"/>
                    <a:pt x="771" y="335"/>
                  </a:cubicBezTo>
                  <a:cubicBezTo>
                    <a:pt x="758" y="335"/>
                    <a:pt x="758" y="335"/>
                    <a:pt x="758" y="335"/>
                  </a:cubicBezTo>
                  <a:cubicBezTo>
                    <a:pt x="758" y="335"/>
                    <a:pt x="753" y="354"/>
                    <a:pt x="729" y="353"/>
                  </a:cubicBezTo>
                  <a:cubicBezTo>
                    <a:pt x="716" y="352"/>
                    <a:pt x="699" y="347"/>
                    <a:pt x="697" y="326"/>
                  </a:cubicBezTo>
                  <a:cubicBezTo>
                    <a:pt x="773" y="326"/>
                    <a:pt x="773" y="326"/>
                    <a:pt x="773" y="326"/>
                  </a:cubicBezTo>
                  <a:cubicBezTo>
                    <a:pt x="773" y="326"/>
                    <a:pt x="775" y="300"/>
                    <a:pt x="754" y="286"/>
                  </a:cubicBezTo>
                  <a:cubicBezTo>
                    <a:pt x="748" y="282"/>
                    <a:pt x="740" y="279"/>
                    <a:pt x="729" y="279"/>
                  </a:cubicBezTo>
                  <a:cubicBezTo>
                    <a:pt x="729" y="279"/>
                    <a:pt x="688" y="277"/>
                    <a:pt x="685" y="320"/>
                  </a:cubicBezTo>
                  <a:moveTo>
                    <a:pt x="873" y="115"/>
                  </a:moveTo>
                  <a:cubicBezTo>
                    <a:pt x="873" y="148"/>
                    <a:pt x="844" y="175"/>
                    <a:pt x="809" y="175"/>
                  </a:cubicBezTo>
                  <a:cubicBezTo>
                    <a:pt x="774" y="175"/>
                    <a:pt x="745" y="148"/>
                    <a:pt x="745" y="115"/>
                  </a:cubicBezTo>
                  <a:cubicBezTo>
                    <a:pt x="745" y="82"/>
                    <a:pt x="774" y="55"/>
                    <a:pt x="809" y="55"/>
                  </a:cubicBezTo>
                  <a:cubicBezTo>
                    <a:pt x="844" y="55"/>
                    <a:pt x="873" y="82"/>
                    <a:pt x="873" y="115"/>
                  </a:cubicBezTo>
                  <a:moveTo>
                    <a:pt x="931" y="115"/>
                  </a:moveTo>
                  <a:cubicBezTo>
                    <a:pt x="931" y="52"/>
                    <a:pt x="876" y="1"/>
                    <a:pt x="809" y="1"/>
                  </a:cubicBezTo>
                  <a:cubicBezTo>
                    <a:pt x="742" y="1"/>
                    <a:pt x="688" y="52"/>
                    <a:pt x="688" y="115"/>
                  </a:cubicBezTo>
                  <a:cubicBezTo>
                    <a:pt x="688" y="178"/>
                    <a:pt x="742" y="230"/>
                    <a:pt x="809" y="230"/>
                  </a:cubicBezTo>
                  <a:cubicBezTo>
                    <a:pt x="876" y="230"/>
                    <a:pt x="931" y="178"/>
                    <a:pt x="931" y="115"/>
                  </a:cubicBezTo>
                  <a:moveTo>
                    <a:pt x="920" y="345"/>
                  </a:moveTo>
                  <a:cubicBezTo>
                    <a:pt x="920" y="294"/>
                    <a:pt x="920" y="294"/>
                    <a:pt x="920" y="294"/>
                  </a:cubicBezTo>
                  <a:cubicBezTo>
                    <a:pt x="931" y="294"/>
                    <a:pt x="931" y="294"/>
                    <a:pt x="931" y="294"/>
                  </a:cubicBezTo>
                  <a:cubicBezTo>
                    <a:pt x="931" y="282"/>
                    <a:pt x="931" y="282"/>
                    <a:pt x="931" y="282"/>
                  </a:cubicBezTo>
                  <a:cubicBezTo>
                    <a:pt x="920" y="282"/>
                    <a:pt x="920" y="282"/>
                    <a:pt x="920" y="282"/>
                  </a:cubicBezTo>
                  <a:cubicBezTo>
                    <a:pt x="920" y="257"/>
                    <a:pt x="920" y="257"/>
                    <a:pt x="920" y="257"/>
                  </a:cubicBezTo>
                  <a:cubicBezTo>
                    <a:pt x="908" y="257"/>
                    <a:pt x="908" y="257"/>
                    <a:pt x="908" y="257"/>
                  </a:cubicBezTo>
                  <a:cubicBezTo>
                    <a:pt x="908" y="282"/>
                    <a:pt x="908" y="282"/>
                    <a:pt x="908" y="282"/>
                  </a:cubicBezTo>
                  <a:cubicBezTo>
                    <a:pt x="891" y="282"/>
                    <a:pt x="891" y="282"/>
                    <a:pt x="891" y="282"/>
                  </a:cubicBezTo>
                  <a:cubicBezTo>
                    <a:pt x="891" y="294"/>
                    <a:pt x="891" y="294"/>
                    <a:pt x="891" y="294"/>
                  </a:cubicBezTo>
                  <a:cubicBezTo>
                    <a:pt x="908" y="294"/>
                    <a:pt x="908" y="294"/>
                    <a:pt x="908" y="294"/>
                  </a:cubicBezTo>
                  <a:cubicBezTo>
                    <a:pt x="908" y="342"/>
                    <a:pt x="908" y="342"/>
                    <a:pt x="908" y="342"/>
                  </a:cubicBezTo>
                  <a:cubicBezTo>
                    <a:pt x="908" y="342"/>
                    <a:pt x="908" y="351"/>
                    <a:pt x="910" y="356"/>
                  </a:cubicBezTo>
                  <a:cubicBezTo>
                    <a:pt x="912" y="359"/>
                    <a:pt x="915" y="362"/>
                    <a:pt x="920" y="363"/>
                  </a:cubicBezTo>
                  <a:cubicBezTo>
                    <a:pt x="920" y="363"/>
                    <a:pt x="925" y="364"/>
                    <a:pt x="931" y="364"/>
                  </a:cubicBezTo>
                  <a:cubicBezTo>
                    <a:pt x="931" y="353"/>
                    <a:pt x="931" y="353"/>
                    <a:pt x="931" y="353"/>
                  </a:cubicBezTo>
                  <a:cubicBezTo>
                    <a:pt x="931" y="353"/>
                    <a:pt x="926" y="353"/>
                    <a:pt x="923" y="351"/>
                  </a:cubicBezTo>
                  <a:cubicBezTo>
                    <a:pt x="920" y="350"/>
                    <a:pt x="920" y="345"/>
                    <a:pt x="920" y="345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3371EE8B-7493-4F6F-B19E-094421480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4" y="6"/>
              <a:ext cx="147" cy="100"/>
            </a:xfrm>
            <a:custGeom>
              <a:avLst/>
              <a:gdLst>
                <a:gd name="T0" fmla="*/ 0 w 147"/>
                <a:gd name="T1" fmla="*/ 1 h 100"/>
                <a:gd name="T2" fmla="*/ 18 w 147"/>
                <a:gd name="T3" fmla="*/ 1 h 100"/>
                <a:gd name="T4" fmla="*/ 22 w 147"/>
                <a:gd name="T5" fmla="*/ 73 h 100"/>
                <a:gd name="T6" fmla="*/ 64 w 147"/>
                <a:gd name="T7" fmla="*/ 0 h 100"/>
                <a:gd name="T8" fmla="*/ 79 w 147"/>
                <a:gd name="T9" fmla="*/ 0 h 100"/>
                <a:gd name="T10" fmla="*/ 84 w 147"/>
                <a:gd name="T11" fmla="*/ 73 h 100"/>
                <a:gd name="T12" fmla="*/ 126 w 147"/>
                <a:gd name="T13" fmla="*/ 1 h 100"/>
                <a:gd name="T14" fmla="*/ 147 w 147"/>
                <a:gd name="T15" fmla="*/ 1 h 100"/>
                <a:gd name="T16" fmla="*/ 86 w 147"/>
                <a:gd name="T17" fmla="*/ 100 h 100"/>
                <a:gd name="T18" fmla="*/ 70 w 147"/>
                <a:gd name="T19" fmla="*/ 100 h 100"/>
                <a:gd name="T20" fmla="*/ 65 w 147"/>
                <a:gd name="T21" fmla="*/ 31 h 100"/>
                <a:gd name="T22" fmla="*/ 23 w 147"/>
                <a:gd name="T23" fmla="*/ 100 h 100"/>
                <a:gd name="T24" fmla="*/ 7 w 147"/>
                <a:gd name="T25" fmla="*/ 100 h 100"/>
                <a:gd name="T26" fmla="*/ 0 w 147"/>
                <a:gd name="T27" fmla="*/ 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7" h="100">
                  <a:moveTo>
                    <a:pt x="0" y="1"/>
                  </a:moveTo>
                  <a:lnTo>
                    <a:pt x="18" y="1"/>
                  </a:lnTo>
                  <a:lnTo>
                    <a:pt x="22" y="73"/>
                  </a:lnTo>
                  <a:lnTo>
                    <a:pt x="64" y="0"/>
                  </a:lnTo>
                  <a:lnTo>
                    <a:pt x="79" y="0"/>
                  </a:lnTo>
                  <a:lnTo>
                    <a:pt x="84" y="73"/>
                  </a:lnTo>
                  <a:lnTo>
                    <a:pt x="126" y="1"/>
                  </a:lnTo>
                  <a:lnTo>
                    <a:pt x="147" y="1"/>
                  </a:lnTo>
                  <a:lnTo>
                    <a:pt x="86" y="100"/>
                  </a:lnTo>
                  <a:lnTo>
                    <a:pt x="70" y="100"/>
                  </a:lnTo>
                  <a:lnTo>
                    <a:pt x="65" y="31"/>
                  </a:lnTo>
                  <a:lnTo>
                    <a:pt x="23" y="100"/>
                  </a:lnTo>
                  <a:lnTo>
                    <a:pt x="7" y="10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8D168A76-8060-479D-B93A-E6A264439F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" y="29"/>
              <a:ext cx="71" cy="78"/>
            </a:xfrm>
            <a:custGeom>
              <a:avLst/>
              <a:gdLst>
                <a:gd name="T0" fmla="*/ 0 w 58"/>
                <a:gd name="T1" fmla="*/ 53 h 64"/>
                <a:gd name="T2" fmla="*/ 8 w 58"/>
                <a:gd name="T3" fmla="*/ 44 h 64"/>
                <a:gd name="T4" fmla="*/ 27 w 58"/>
                <a:gd name="T5" fmla="*/ 53 h 64"/>
                <a:gd name="T6" fmla="*/ 37 w 58"/>
                <a:gd name="T7" fmla="*/ 45 h 64"/>
                <a:gd name="T8" fmla="*/ 28 w 58"/>
                <a:gd name="T9" fmla="*/ 38 h 64"/>
                <a:gd name="T10" fmla="*/ 11 w 58"/>
                <a:gd name="T11" fmla="*/ 21 h 64"/>
                <a:gd name="T12" fmla="*/ 35 w 58"/>
                <a:gd name="T13" fmla="*/ 0 h 64"/>
                <a:gd name="T14" fmla="*/ 58 w 58"/>
                <a:gd name="T15" fmla="*/ 9 h 64"/>
                <a:gd name="T16" fmla="*/ 50 w 58"/>
                <a:gd name="T17" fmla="*/ 18 h 64"/>
                <a:gd name="T18" fmla="*/ 34 w 58"/>
                <a:gd name="T19" fmla="*/ 11 h 64"/>
                <a:gd name="T20" fmla="*/ 24 w 58"/>
                <a:gd name="T21" fmla="*/ 18 h 64"/>
                <a:gd name="T22" fmla="*/ 34 w 58"/>
                <a:gd name="T23" fmla="*/ 26 h 64"/>
                <a:gd name="T24" fmla="*/ 51 w 58"/>
                <a:gd name="T25" fmla="*/ 43 h 64"/>
                <a:gd name="T26" fmla="*/ 26 w 58"/>
                <a:gd name="T27" fmla="*/ 64 h 64"/>
                <a:gd name="T28" fmla="*/ 0 w 58"/>
                <a:gd name="T29" fmla="*/ 5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64">
                  <a:moveTo>
                    <a:pt x="0" y="53"/>
                  </a:moveTo>
                  <a:cubicBezTo>
                    <a:pt x="8" y="44"/>
                    <a:pt x="8" y="44"/>
                    <a:pt x="8" y="44"/>
                  </a:cubicBezTo>
                  <a:cubicBezTo>
                    <a:pt x="14" y="51"/>
                    <a:pt x="21" y="53"/>
                    <a:pt x="27" y="53"/>
                  </a:cubicBezTo>
                  <a:cubicBezTo>
                    <a:pt x="33" y="53"/>
                    <a:pt x="37" y="50"/>
                    <a:pt x="37" y="45"/>
                  </a:cubicBezTo>
                  <a:cubicBezTo>
                    <a:pt x="37" y="42"/>
                    <a:pt x="34" y="40"/>
                    <a:pt x="28" y="38"/>
                  </a:cubicBezTo>
                  <a:cubicBezTo>
                    <a:pt x="18" y="34"/>
                    <a:pt x="11" y="30"/>
                    <a:pt x="11" y="21"/>
                  </a:cubicBezTo>
                  <a:cubicBezTo>
                    <a:pt x="11" y="9"/>
                    <a:pt x="20" y="0"/>
                    <a:pt x="35" y="0"/>
                  </a:cubicBezTo>
                  <a:cubicBezTo>
                    <a:pt x="44" y="0"/>
                    <a:pt x="53" y="5"/>
                    <a:pt x="58" y="9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45" y="13"/>
                    <a:pt x="39" y="11"/>
                    <a:pt x="34" y="11"/>
                  </a:cubicBezTo>
                  <a:cubicBezTo>
                    <a:pt x="28" y="11"/>
                    <a:pt x="24" y="14"/>
                    <a:pt x="24" y="18"/>
                  </a:cubicBezTo>
                  <a:cubicBezTo>
                    <a:pt x="24" y="21"/>
                    <a:pt x="27" y="23"/>
                    <a:pt x="34" y="26"/>
                  </a:cubicBezTo>
                  <a:cubicBezTo>
                    <a:pt x="43" y="30"/>
                    <a:pt x="51" y="34"/>
                    <a:pt x="51" y="43"/>
                  </a:cubicBezTo>
                  <a:cubicBezTo>
                    <a:pt x="51" y="56"/>
                    <a:pt x="40" y="64"/>
                    <a:pt x="26" y="64"/>
                  </a:cubicBezTo>
                  <a:cubicBezTo>
                    <a:pt x="17" y="64"/>
                    <a:pt x="7" y="60"/>
                    <a:pt x="0" y="53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68B1041-DAC9-4A88-88A1-B11AA01FD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32"/>
              <a:ext cx="84" cy="73"/>
            </a:xfrm>
            <a:custGeom>
              <a:avLst/>
              <a:gdLst>
                <a:gd name="T0" fmla="*/ 3 w 84"/>
                <a:gd name="T1" fmla="*/ 62 h 73"/>
                <a:gd name="T2" fmla="*/ 57 w 84"/>
                <a:gd name="T3" fmla="*/ 13 h 73"/>
                <a:gd name="T4" fmla="*/ 18 w 84"/>
                <a:gd name="T5" fmla="*/ 13 h 73"/>
                <a:gd name="T6" fmla="*/ 20 w 84"/>
                <a:gd name="T7" fmla="*/ 0 h 73"/>
                <a:gd name="T8" fmla="*/ 84 w 84"/>
                <a:gd name="T9" fmla="*/ 0 h 73"/>
                <a:gd name="T10" fmla="*/ 80 w 84"/>
                <a:gd name="T11" fmla="*/ 11 h 73"/>
                <a:gd name="T12" fmla="*/ 25 w 84"/>
                <a:gd name="T13" fmla="*/ 60 h 73"/>
                <a:gd name="T14" fmla="*/ 68 w 84"/>
                <a:gd name="T15" fmla="*/ 60 h 73"/>
                <a:gd name="T16" fmla="*/ 64 w 84"/>
                <a:gd name="T17" fmla="*/ 73 h 73"/>
                <a:gd name="T18" fmla="*/ 0 w 84"/>
                <a:gd name="T19" fmla="*/ 73 h 73"/>
                <a:gd name="T20" fmla="*/ 3 w 84"/>
                <a:gd name="T21" fmla="*/ 6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73">
                  <a:moveTo>
                    <a:pt x="3" y="62"/>
                  </a:moveTo>
                  <a:lnTo>
                    <a:pt x="57" y="13"/>
                  </a:lnTo>
                  <a:lnTo>
                    <a:pt x="18" y="13"/>
                  </a:lnTo>
                  <a:lnTo>
                    <a:pt x="20" y="0"/>
                  </a:lnTo>
                  <a:lnTo>
                    <a:pt x="84" y="0"/>
                  </a:lnTo>
                  <a:lnTo>
                    <a:pt x="80" y="11"/>
                  </a:lnTo>
                  <a:lnTo>
                    <a:pt x="25" y="60"/>
                  </a:lnTo>
                  <a:lnTo>
                    <a:pt x="68" y="60"/>
                  </a:lnTo>
                  <a:lnTo>
                    <a:pt x="64" y="73"/>
                  </a:lnTo>
                  <a:lnTo>
                    <a:pt x="0" y="73"/>
                  </a:lnTo>
                  <a:lnTo>
                    <a:pt x="3" y="62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79620D0A-FAB2-42EA-A6A2-F55A906EA2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8" y="32"/>
              <a:ext cx="95" cy="96"/>
            </a:xfrm>
            <a:custGeom>
              <a:avLst/>
              <a:gdLst>
                <a:gd name="T0" fmla="*/ 0 w 78"/>
                <a:gd name="T1" fmla="*/ 75 h 79"/>
                <a:gd name="T2" fmla="*/ 8 w 78"/>
                <a:gd name="T3" fmla="*/ 65 h 79"/>
                <a:gd name="T4" fmla="*/ 15 w 78"/>
                <a:gd name="T5" fmla="*/ 67 h 79"/>
                <a:gd name="T6" fmla="*/ 26 w 78"/>
                <a:gd name="T7" fmla="*/ 60 h 79"/>
                <a:gd name="T8" fmla="*/ 17 w 78"/>
                <a:gd name="T9" fmla="*/ 0 h 79"/>
                <a:gd name="T10" fmla="*/ 31 w 78"/>
                <a:gd name="T11" fmla="*/ 0 h 79"/>
                <a:gd name="T12" fmla="*/ 36 w 78"/>
                <a:gd name="T13" fmla="*/ 45 h 79"/>
                <a:gd name="T14" fmla="*/ 63 w 78"/>
                <a:gd name="T15" fmla="*/ 0 h 79"/>
                <a:gd name="T16" fmla="*/ 78 w 78"/>
                <a:gd name="T17" fmla="*/ 0 h 79"/>
                <a:gd name="T18" fmla="*/ 39 w 78"/>
                <a:gd name="T19" fmla="*/ 62 h 79"/>
                <a:gd name="T20" fmla="*/ 14 w 78"/>
                <a:gd name="T21" fmla="*/ 79 h 79"/>
                <a:gd name="T22" fmla="*/ 0 w 78"/>
                <a:gd name="T23" fmla="*/ 7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8" h="79">
                  <a:moveTo>
                    <a:pt x="0" y="75"/>
                  </a:moveTo>
                  <a:cubicBezTo>
                    <a:pt x="8" y="65"/>
                    <a:pt x="8" y="65"/>
                    <a:pt x="8" y="65"/>
                  </a:cubicBezTo>
                  <a:cubicBezTo>
                    <a:pt x="10" y="66"/>
                    <a:pt x="13" y="67"/>
                    <a:pt x="15" y="67"/>
                  </a:cubicBezTo>
                  <a:cubicBezTo>
                    <a:pt x="19" y="67"/>
                    <a:pt x="22" y="66"/>
                    <a:pt x="26" y="6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31" y="74"/>
                    <a:pt x="24" y="79"/>
                    <a:pt x="14" y="79"/>
                  </a:cubicBezTo>
                  <a:cubicBezTo>
                    <a:pt x="8" y="79"/>
                    <a:pt x="4" y="78"/>
                    <a:pt x="0" y="75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B2DD2704-009F-4A08-A42A-45CA1FC5A7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5" y="29"/>
              <a:ext cx="71" cy="78"/>
            </a:xfrm>
            <a:custGeom>
              <a:avLst/>
              <a:gdLst>
                <a:gd name="T0" fmla="*/ 0 w 58"/>
                <a:gd name="T1" fmla="*/ 53 h 64"/>
                <a:gd name="T2" fmla="*/ 8 w 58"/>
                <a:gd name="T3" fmla="*/ 44 h 64"/>
                <a:gd name="T4" fmla="*/ 28 w 58"/>
                <a:gd name="T5" fmla="*/ 53 h 64"/>
                <a:gd name="T6" fmla="*/ 38 w 58"/>
                <a:gd name="T7" fmla="*/ 45 h 64"/>
                <a:gd name="T8" fmla="*/ 29 w 58"/>
                <a:gd name="T9" fmla="*/ 38 h 64"/>
                <a:gd name="T10" fmla="*/ 11 w 58"/>
                <a:gd name="T11" fmla="*/ 21 h 64"/>
                <a:gd name="T12" fmla="*/ 35 w 58"/>
                <a:gd name="T13" fmla="*/ 0 h 64"/>
                <a:gd name="T14" fmla="*/ 58 w 58"/>
                <a:gd name="T15" fmla="*/ 9 h 64"/>
                <a:gd name="T16" fmla="*/ 51 w 58"/>
                <a:gd name="T17" fmla="*/ 18 h 64"/>
                <a:gd name="T18" fmla="*/ 34 w 58"/>
                <a:gd name="T19" fmla="*/ 11 h 64"/>
                <a:gd name="T20" fmla="*/ 25 w 58"/>
                <a:gd name="T21" fmla="*/ 18 h 64"/>
                <a:gd name="T22" fmla="*/ 34 w 58"/>
                <a:gd name="T23" fmla="*/ 26 h 64"/>
                <a:gd name="T24" fmla="*/ 51 w 58"/>
                <a:gd name="T25" fmla="*/ 43 h 64"/>
                <a:gd name="T26" fmla="*/ 27 w 58"/>
                <a:gd name="T27" fmla="*/ 64 h 64"/>
                <a:gd name="T28" fmla="*/ 0 w 58"/>
                <a:gd name="T29" fmla="*/ 5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64">
                  <a:moveTo>
                    <a:pt x="0" y="53"/>
                  </a:moveTo>
                  <a:cubicBezTo>
                    <a:pt x="8" y="44"/>
                    <a:pt x="8" y="44"/>
                    <a:pt x="8" y="44"/>
                  </a:cubicBezTo>
                  <a:cubicBezTo>
                    <a:pt x="15" y="51"/>
                    <a:pt x="22" y="53"/>
                    <a:pt x="28" y="53"/>
                  </a:cubicBezTo>
                  <a:cubicBezTo>
                    <a:pt x="33" y="53"/>
                    <a:pt x="38" y="50"/>
                    <a:pt x="38" y="45"/>
                  </a:cubicBezTo>
                  <a:cubicBezTo>
                    <a:pt x="38" y="42"/>
                    <a:pt x="35" y="40"/>
                    <a:pt x="29" y="38"/>
                  </a:cubicBezTo>
                  <a:cubicBezTo>
                    <a:pt x="19" y="34"/>
                    <a:pt x="11" y="30"/>
                    <a:pt x="11" y="21"/>
                  </a:cubicBezTo>
                  <a:cubicBezTo>
                    <a:pt x="11" y="9"/>
                    <a:pt x="20" y="0"/>
                    <a:pt x="35" y="0"/>
                  </a:cubicBezTo>
                  <a:cubicBezTo>
                    <a:pt x="45" y="0"/>
                    <a:pt x="53" y="5"/>
                    <a:pt x="58" y="9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45" y="13"/>
                    <a:pt x="40" y="11"/>
                    <a:pt x="34" y="11"/>
                  </a:cubicBezTo>
                  <a:cubicBezTo>
                    <a:pt x="28" y="11"/>
                    <a:pt x="25" y="14"/>
                    <a:pt x="25" y="18"/>
                  </a:cubicBezTo>
                  <a:cubicBezTo>
                    <a:pt x="25" y="21"/>
                    <a:pt x="27" y="23"/>
                    <a:pt x="34" y="26"/>
                  </a:cubicBezTo>
                  <a:cubicBezTo>
                    <a:pt x="44" y="30"/>
                    <a:pt x="51" y="34"/>
                    <a:pt x="51" y="43"/>
                  </a:cubicBezTo>
                  <a:cubicBezTo>
                    <a:pt x="51" y="56"/>
                    <a:pt x="41" y="64"/>
                    <a:pt x="27" y="64"/>
                  </a:cubicBezTo>
                  <a:cubicBezTo>
                    <a:pt x="18" y="64"/>
                    <a:pt x="7" y="60"/>
                    <a:pt x="0" y="53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993FE45-F4BE-4605-9420-87A1C8838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6" y="11"/>
              <a:ext cx="52" cy="95"/>
            </a:xfrm>
            <a:custGeom>
              <a:avLst/>
              <a:gdLst>
                <a:gd name="T0" fmla="*/ 0 w 43"/>
                <a:gd name="T1" fmla="*/ 66 h 78"/>
                <a:gd name="T2" fmla="*/ 2 w 43"/>
                <a:gd name="T3" fmla="*/ 59 h 78"/>
                <a:gd name="T4" fmla="*/ 10 w 43"/>
                <a:gd name="T5" fmla="*/ 28 h 78"/>
                <a:gd name="T6" fmla="*/ 2 w 43"/>
                <a:gd name="T7" fmla="*/ 28 h 78"/>
                <a:gd name="T8" fmla="*/ 5 w 43"/>
                <a:gd name="T9" fmla="*/ 17 h 78"/>
                <a:gd name="T10" fmla="*/ 13 w 43"/>
                <a:gd name="T11" fmla="*/ 17 h 78"/>
                <a:gd name="T12" fmla="*/ 17 w 43"/>
                <a:gd name="T13" fmla="*/ 0 h 78"/>
                <a:gd name="T14" fmla="*/ 31 w 43"/>
                <a:gd name="T15" fmla="*/ 0 h 78"/>
                <a:gd name="T16" fmla="*/ 27 w 43"/>
                <a:gd name="T17" fmla="*/ 17 h 78"/>
                <a:gd name="T18" fmla="*/ 43 w 43"/>
                <a:gd name="T19" fmla="*/ 17 h 78"/>
                <a:gd name="T20" fmla="*/ 40 w 43"/>
                <a:gd name="T21" fmla="*/ 28 h 78"/>
                <a:gd name="T22" fmla="*/ 24 w 43"/>
                <a:gd name="T23" fmla="*/ 28 h 78"/>
                <a:gd name="T24" fmla="*/ 16 w 43"/>
                <a:gd name="T25" fmla="*/ 58 h 78"/>
                <a:gd name="T26" fmla="*/ 15 w 43"/>
                <a:gd name="T27" fmla="*/ 61 h 78"/>
                <a:gd name="T28" fmla="*/ 21 w 43"/>
                <a:gd name="T29" fmla="*/ 66 h 78"/>
                <a:gd name="T30" fmla="*/ 30 w 43"/>
                <a:gd name="T31" fmla="*/ 64 h 78"/>
                <a:gd name="T32" fmla="*/ 27 w 43"/>
                <a:gd name="T33" fmla="*/ 76 h 78"/>
                <a:gd name="T34" fmla="*/ 16 w 43"/>
                <a:gd name="T35" fmla="*/ 78 h 78"/>
                <a:gd name="T36" fmla="*/ 0 w 43"/>
                <a:gd name="T37" fmla="*/ 6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3" h="78">
                  <a:moveTo>
                    <a:pt x="0" y="66"/>
                  </a:moveTo>
                  <a:cubicBezTo>
                    <a:pt x="0" y="64"/>
                    <a:pt x="1" y="62"/>
                    <a:pt x="2" y="59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9"/>
                    <a:pt x="15" y="60"/>
                    <a:pt x="15" y="61"/>
                  </a:cubicBezTo>
                  <a:cubicBezTo>
                    <a:pt x="15" y="64"/>
                    <a:pt x="17" y="66"/>
                    <a:pt x="21" y="66"/>
                  </a:cubicBezTo>
                  <a:cubicBezTo>
                    <a:pt x="24" y="66"/>
                    <a:pt x="27" y="65"/>
                    <a:pt x="30" y="64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4" y="78"/>
                    <a:pt x="20" y="78"/>
                    <a:pt x="16" y="78"/>
                  </a:cubicBezTo>
                  <a:cubicBezTo>
                    <a:pt x="6" y="78"/>
                    <a:pt x="0" y="74"/>
                    <a:pt x="0" y="66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051C88A8-B9F5-4049-B0FC-FCDADE9111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6" y="3"/>
              <a:ext cx="89" cy="102"/>
            </a:xfrm>
            <a:custGeom>
              <a:avLst/>
              <a:gdLst>
                <a:gd name="T0" fmla="*/ 27 w 89"/>
                <a:gd name="T1" fmla="*/ 0 h 102"/>
                <a:gd name="T2" fmla="*/ 44 w 89"/>
                <a:gd name="T3" fmla="*/ 0 h 102"/>
                <a:gd name="T4" fmla="*/ 28 w 89"/>
                <a:gd name="T5" fmla="*/ 59 h 102"/>
                <a:gd name="T6" fmla="*/ 66 w 89"/>
                <a:gd name="T7" fmla="*/ 29 h 102"/>
                <a:gd name="T8" fmla="*/ 89 w 89"/>
                <a:gd name="T9" fmla="*/ 29 h 102"/>
                <a:gd name="T10" fmla="*/ 51 w 89"/>
                <a:gd name="T11" fmla="*/ 58 h 102"/>
                <a:gd name="T12" fmla="*/ 69 w 89"/>
                <a:gd name="T13" fmla="*/ 102 h 102"/>
                <a:gd name="T14" fmla="*/ 50 w 89"/>
                <a:gd name="T15" fmla="*/ 102 h 102"/>
                <a:gd name="T16" fmla="*/ 36 w 89"/>
                <a:gd name="T17" fmla="*/ 69 h 102"/>
                <a:gd name="T18" fmla="*/ 22 w 89"/>
                <a:gd name="T19" fmla="*/ 81 h 102"/>
                <a:gd name="T20" fmla="*/ 17 w 89"/>
                <a:gd name="T21" fmla="*/ 102 h 102"/>
                <a:gd name="T22" fmla="*/ 0 w 89"/>
                <a:gd name="T23" fmla="*/ 102 h 102"/>
                <a:gd name="T24" fmla="*/ 27 w 89"/>
                <a:gd name="T25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102">
                  <a:moveTo>
                    <a:pt x="27" y="0"/>
                  </a:moveTo>
                  <a:lnTo>
                    <a:pt x="44" y="0"/>
                  </a:lnTo>
                  <a:lnTo>
                    <a:pt x="28" y="59"/>
                  </a:lnTo>
                  <a:lnTo>
                    <a:pt x="66" y="29"/>
                  </a:lnTo>
                  <a:lnTo>
                    <a:pt x="89" y="29"/>
                  </a:lnTo>
                  <a:lnTo>
                    <a:pt x="51" y="58"/>
                  </a:lnTo>
                  <a:lnTo>
                    <a:pt x="69" y="102"/>
                  </a:lnTo>
                  <a:lnTo>
                    <a:pt x="50" y="102"/>
                  </a:lnTo>
                  <a:lnTo>
                    <a:pt x="36" y="69"/>
                  </a:lnTo>
                  <a:lnTo>
                    <a:pt x="22" y="81"/>
                  </a:lnTo>
                  <a:lnTo>
                    <a:pt x="17" y="102"/>
                  </a:lnTo>
                  <a:lnTo>
                    <a:pt x="0" y="102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id="{BA6A75F3-9753-45D2-96AA-87026C8F20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2" y="29"/>
              <a:ext cx="78" cy="78"/>
            </a:xfrm>
            <a:custGeom>
              <a:avLst/>
              <a:gdLst>
                <a:gd name="T0" fmla="*/ 0 w 64"/>
                <a:gd name="T1" fmla="*/ 36 h 64"/>
                <a:gd name="T2" fmla="*/ 36 w 64"/>
                <a:gd name="T3" fmla="*/ 0 h 64"/>
                <a:gd name="T4" fmla="*/ 64 w 64"/>
                <a:gd name="T5" fmla="*/ 28 h 64"/>
                <a:gd name="T6" fmla="*/ 29 w 64"/>
                <a:gd name="T7" fmla="*/ 64 h 64"/>
                <a:gd name="T8" fmla="*/ 0 w 64"/>
                <a:gd name="T9" fmla="*/ 36 h 64"/>
                <a:gd name="T10" fmla="*/ 50 w 64"/>
                <a:gd name="T11" fmla="*/ 28 h 64"/>
                <a:gd name="T12" fmla="*/ 35 w 64"/>
                <a:gd name="T13" fmla="*/ 12 h 64"/>
                <a:gd name="T14" fmla="*/ 14 w 64"/>
                <a:gd name="T15" fmla="*/ 35 h 64"/>
                <a:gd name="T16" fmla="*/ 30 w 64"/>
                <a:gd name="T17" fmla="*/ 52 h 64"/>
                <a:gd name="T18" fmla="*/ 50 w 64"/>
                <a:gd name="T19" fmla="*/ 2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0" y="36"/>
                  </a:moveTo>
                  <a:cubicBezTo>
                    <a:pt x="0" y="17"/>
                    <a:pt x="16" y="0"/>
                    <a:pt x="36" y="0"/>
                  </a:cubicBezTo>
                  <a:cubicBezTo>
                    <a:pt x="53" y="0"/>
                    <a:pt x="64" y="12"/>
                    <a:pt x="64" y="28"/>
                  </a:cubicBezTo>
                  <a:cubicBezTo>
                    <a:pt x="64" y="47"/>
                    <a:pt x="48" y="64"/>
                    <a:pt x="29" y="64"/>
                  </a:cubicBezTo>
                  <a:cubicBezTo>
                    <a:pt x="11" y="64"/>
                    <a:pt x="0" y="52"/>
                    <a:pt x="0" y="36"/>
                  </a:cubicBezTo>
                  <a:moveTo>
                    <a:pt x="50" y="28"/>
                  </a:moveTo>
                  <a:cubicBezTo>
                    <a:pt x="50" y="18"/>
                    <a:pt x="44" y="12"/>
                    <a:pt x="35" y="12"/>
                  </a:cubicBezTo>
                  <a:cubicBezTo>
                    <a:pt x="23" y="12"/>
                    <a:pt x="14" y="25"/>
                    <a:pt x="14" y="35"/>
                  </a:cubicBezTo>
                  <a:cubicBezTo>
                    <a:pt x="14" y="46"/>
                    <a:pt x="20" y="52"/>
                    <a:pt x="30" y="52"/>
                  </a:cubicBezTo>
                  <a:cubicBezTo>
                    <a:pt x="41" y="52"/>
                    <a:pt x="50" y="39"/>
                    <a:pt x="50" y="28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8" name="Freeform 14">
              <a:extLst>
                <a:ext uri="{FF2B5EF4-FFF2-40B4-BE49-F238E27FC236}">
                  <a16:creationId xmlns:a16="http://schemas.microsoft.com/office/drawing/2014/main" id="{E1888461-0B4C-4BB4-8B63-0E07BAFE95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0" y="200"/>
              <a:ext cx="85" cy="73"/>
            </a:xfrm>
            <a:custGeom>
              <a:avLst/>
              <a:gdLst>
                <a:gd name="T0" fmla="*/ 4 w 85"/>
                <a:gd name="T1" fmla="*/ 62 h 73"/>
                <a:gd name="T2" fmla="*/ 59 w 85"/>
                <a:gd name="T3" fmla="*/ 13 h 73"/>
                <a:gd name="T4" fmla="*/ 19 w 85"/>
                <a:gd name="T5" fmla="*/ 13 h 73"/>
                <a:gd name="T6" fmla="*/ 22 w 85"/>
                <a:gd name="T7" fmla="*/ 0 h 73"/>
                <a:gd name="T8" fmla="*/ 85 w 85"/>
                <a:gd name="T9" fmla="*/ 0 h 73"/>
                <a:gd name="T10" fmla="*/ 82 w 85"/>
                <a:gd name="T11" fmla="*/ 11 h 73"/>
                <a:gd name="T12" fmla="*/ 27 w 85"/>
                <a:gd name="T13" fmla="*/ 60 h 73"/>
                <a:gd name="T14" fmla="*/ 69 w 85"/>
                <a:gd name="T15" fmla="*/ 60 h 73"/>
                <a:gd name="T16" fmla="*/ 65 w 85"/>
                <a:gd name="T17" fmla="*/ 73 h 73"/>
                <a:gd name="T18" fmla="*/ 0 w 85"/>
                <a:gd name="T19" fmla="*/ 73 h 73"/>
                <a:gd name="T20" fmla="*/ 4 w 85"/>
                <a:gd name="T21" fmla="*/ 6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" h="73">
                  <a:moveTo>
                    <a:pt x="4" y="62"/>
                  </a:moveTo>
                  <a:lnTo>
                    <a:pt x="59" y="13"/>
                  </a:lnTo>
                  <a:lnTo>
                    <a:pt x="19" y="13"/>
                  </a:lnTo>
                  <a:lnTo>
                    <a:pt x="22" y="0"/>
                  </a:lnTo>
                  <a:lnTo>
                    <a:pt x="85" y="0"/>
                  </a:lnTo>
                  <a:lnTo>
                    <a:pt x="82" y="11"/>
                  </a:lnTo>
                  <a:lnTo>
                    <a:pt x="27" y="60"/>
                  </a:lnTo>
                  <a:lnTo>
                    <a:pt x="69" y="60"/>
                  </a:lnTo>
                  <a:lnTo>
                    <a:pt x="65" y="73"/>
                  </a:lnTo>
                  <a:lnTo>
                    <a:pt x="0" y="73"/>
                  </a:lnTo>
                  <a:lnTo>
                    <a:pt x="4" y="62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9" name="Freeform 15">
              <a:extLst>
                <a:ext uri="{FF2B5EF4-FFF2-40B4-BE49-F238E27FC236}">
                  <a16:creationId xmlns:a16="http://schemas.microsoft.com/office/drawing/2014/main" id="{CA9FB4A2-4521-4367-B319-DFD4EA0E50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3" y="199"/>
              <a:ext cx="75" cy="77"/>
            </a:xfrm>
            <a:custGeom>
              <a:avLst/>
              <a:gdLst>
                <a:gd name="T0" fmla="*/ 0 w 61"/>
                <a:gd name="T1" fmla="*/ 46 h 63"/>
                <a:gd name="T2" fmla="*/ 27 w 61"/>
                <a:gd name="T3" fmla="*/ 24 h 63"/>
                <a:gd name="T4" fmla="*/ 46 w 61"/>
                <a:gd name="T5" fmla="*/ 27 h 63"/>
                <a:gd name="T6" fmla="*/ 46 w 61"/>
                <a:gd name="T7" fmla="*/ 26 h 63"/>
                <a:gd name="T8" fmla="*/ 47 w 61"/>
                <a:gd name="T9" fmla="*/ 21 h 63"/>
                <a:gd name="T10" fmla="*/ 33 w 61"/>
                <a:gd name="T11" fmla="*/ 12 h 63"/>
                <a:gd name="T12" fmla="*/ 17 w 61"/>
                <a:gd name="T13" fmla="*/ 15 h 63"/>
                <a:gd name="T14" fmla="*/ 14 w 61"/>
                <a:gd name="T15" fmla="*/ 4 h 63"/>
                <a:gd name="T16" fmla="*/ 36 w 61"/>
                <a:gd name="T17" fmla="*/ 0 h 63"/>
                <a:gd name="T18" fmla="*/ 61 w 61"/>
                <a:gd name="T19" fmla="*/ 19 h 63"/>
                <a:gd name="T20" fmla="*/ 59 w 61"/>
                <a:gd name="T21" fmla="*/ 27 h 63"/>
                <a:gd name="T22" fmla="*/ 50 w 61"/>
                <a:gd name="T23" fmla="*/ 61 h 63"/>
                <a:gd name="T24" fmla="*/ 36 w 61"/>
                <a:gd name="T25" fmla="*/ 61 h 63"/>
                <a:gd name="T26" fmla="*/ 39 w 61"/>
                <a:gd name="T27" fmla="*/ 53 h 63"/>
                <a:gd name="T28" fmla="*/ 19 w 61"/>
                <a:gd name="T29" fmla="*/ 63 h 63"/>
                <a:gd name="T30" fmla="*/ 0 w 61"/>
                <a:gd name="T31" fmla="*/ 46 h 63"/>
                <a:gd name="T32" fmla="*/ 43 w 61"/>
                <a:gd name="T33" fmla="*/ 38 h 63"/>
                <a:gd name="T34" fmla="*/ 43 w 61"/>
                <a:gd name="T35" fmla="*/ 35 h 63"/>
                <a:gd name="T36" fmla="*/ 30 w 61"/>
                <a:gd name="T37" fmla="*/ 33 h 63"/>
                <a:gd name="T38" fmla="*/ 15 w 61"/>
                <a:gd name="T39" fmla="*/ 44 h 63"/>
                <a:gd name="T40" fmla="*/ 24 w 61"/>
                <a:gd name="T41" fmla="*/ 52 h 63"/>
                <a:gd name="T42" fmla="*/ 43 w 61"/>
                <a:gd name="T43" fmla="*/ 38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1" h="63">
                  <a:moveTo>
                    <a:pt x="0" y="46"/>
                  </a:moveTo>
                  <a:cubicBezTo>
                    <a:pt x="0" y="32"/>
                    <a:pt x="12" y="24"/>
                    <a:pt x="27" y="24"/>
                  </a:cubicBezTo>
                  <a:cubicBezTo>
                    <a:pt x="34" y="24"/>
                    <a:pt x="40" y="25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4"/>
                    <a:pt x="47" y="23"/>
                    <a:pt x="47" y="21"/>
                  </a:cubicBezTo>
                  <a:cubicBezTo>
                    <a:pt x="47" y="16"/>
                    <a:pt x="43" y="12"/>
                    <a:pt x="33" y="12"/>
                  </a:cubicBezTo>
                  <a:cubicBezTo>
                    <a:pt x="27" y="12"/>
                    <a:pt x="22" y="13"/>
                    <a:pt x="17" y="15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21" y="1"/>
                    <a:pt x="28" y="0"/>
                    <a:pt x="36" y="0"/>
                  </a:cubicBezTo>
                  <a:cubicBezTo>
                    <a:pt x="52" y="0"/>
                    <a:pt x="61" y="7"/>
                    <a:pt x="61" y="19"/>
                  </a:cubicBezTo>
                  <a:cubicBezTo>
                    <a:pt x="61" y="21"/>
                    <a:pt x="60" y="24"/>
                    <a:pt x="59" y="27"/>
                  </a:cubicBezTo>
                  <a:cubicBezTo>
                    <a:pt x="50" y="61"/>
                    <a:pt x="50" y="61"/>
                    <a:pt x="50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3" y="59"/>
                    <a:pt x="27" y="63"/>
                    <a:pt x="19" y="63"/>
                  </a:cubicBezTo>
                  <a:cubicBezTo>
                    <a:pt x="8" y="63"/>
                    <a:pt x="0" y="56"/>
                    <a:pt x="0" y="46"/>
                  </a:cubicBezTo>
                  <a:moveTo>
                    <a:pt x="43" y="38"/>
                  </a:moveTo>
                  <a:cubicBezTo>
                    <a:pt x="43" y="35"/>
                    <a:pt x="43" y="35"/>
                    <a:pt x="43" y="35"/>
                  </a:cubicBezTo>
                  <a:cubicBezTo>
                    <a:pt x="40" y="34"/>
                    <a:pt x="35" y="33"/>
                    <a:pt x="30" y="33"/>
                  </a:cubicBezTo>
                  <a:cubicBezTo>
                    <a:pt x="20" y="33"/>
                    <a:pt x="15" y="38"/>
                    <a:pt x="15" y="44"/>
                  </a:cubicBezTo>
                  <a:cubicBezTo>
                    <a:pt x="15" y="49"/>
                    <a:pt x="18" y="52"/>
                    <a:pt x="24" y="52"/>
                  </a:cubicBezTo>
                  <a:cubicBezTo>
                    <a:pt x="33" y="52"/>
                    <a:pt x="41" y="46"/>
                    <a:pt x="43" y="38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0" name="Freeform 16">
              <a:extLst>
                <a:ext uri="{FF2B5EF4-FFF2-40B4-BE49-F238E27FC236}">
                  <a16:creationId xmlns:a16="http://schemas.microsoft.com/office/drawing/2014/main" id="{99427B26-3F4D-4759-A1D8-69342CE5F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0" y="198"/>
              <a:ext cx="74" cy="78"/>
            </a:xfrm>
            <a:custGeom>
              <a:avLst/>
              <a:gdLst>
                <a:gd name="T0" fmla="*/ 0 w 61"/>
                <a:gd name="T1" fmla="*/ 37 h 64"/>
                <a:gd name="T2" fmla="*/ 36 w 61"/>
                <a:gd name="T3" fmla="*/ 0 h 64"/>
                <a:gd name="T4" fmla="*/ 61 w 61"/>
                <a:gd name="T5" fmla="*/ 14 h 64"/>
                <a:gd name="T6" fmla="*/ 50 w 61"/>
                <a:gd name="T7" fmla="*/ 21 h 64"/>
                <a:gd name="T8" fmla="*/ 35 w 61"/>
                <a:gd name="T9" fmla="*/ 12 h 64"/>
                <a:gd name="T10" fmla="*/ 14 w 61"/>
                <a:gd name="T11" fmla="*/ 37 h 64"/>
                <a:gd name="T12" fmla="*/ 28 w 61"/>
                <a:gd name="T13" fmla="*/ 52 h 64"/>
                <a:gd name="T14" fmla="*/ 44 w 61"/>
                <a:gd name="T15" fmla="*/ 45 h 64"/>
                <a:gd name="T16" fmla="*/ 51 w 61"/>
                <a:gd name="T17" fmla="*/ 54 h 64"/>
                <a:gd name="T18" fmla="*/ 28 w 61"/>
                <a:gd name="T19" fmla="*/ 64 h 64"/>
                <a:gd name="T20" fmla="*/ 0 w 61"/>
                <a:gd name="T21" fmla="*/ 3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64">
                  <a:moveTo>
                    <a:pt x="0" y="37"/>
                  </a:moveTo>
                  <a:cubicBezTo>
                    <a:pt x="0" y="17"/>
                    <a:pt x="17" y="0"/>
                    <a:pt x="36" y="0"/>
                  </a:cubicBezTo>
                  <a:cubicBezTo>
                    <a:pt x="49" y="0"/>
                    <a:pt x="56" y="7"/>
                    <a:pt x="61" y="14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46" y="16"/>
                    <a:pt x="43" y="12"/>
                    <a:pt x="35" y="12"/>
                  </a:cubicBezTo>
                  <a:cubicBezTo>
                    <a:pt x="24" y="12"/>
                    <a:pt x="14" y="24"/>
                    <a:pt x="14" y="37"/>
                  </a:cubicBezTo>
                  <a:cubicBezTo>
                    <a:pt x="14" y="46"/>
                    <a:pt x="20" y="52"/>
                    <a:pt x="28" y="52"/>
                  </a:cubicBezTo>
                  <a:cubicBezTo>
                    <a:pt x="34" y="52"/>
                    <a:pt x="39" y="49"/>
                    <a:pt x="44" y="45"/>
                  </a:cubicBezTo>
                  <a:cubicBezTo>
                    <a:pt x="51" y="54"/>
                    <a:pt x="51" y="54"/>
                    <a:pt x="51" y="54"/>
                  </a:cubicBezTo>
                  <a:cubicBezTo>
                    <a:pt x="45" y="60"/>
                    <a:pt x="38" y="64"/>
                    <a:pt x="28" y="64"/>
                  </a:cubicBezTo>
                  <a:cubicBezTo>
                    <a:pt x="12" y="64"/>
                    <a:pt x="0" y="53"/>
                    <a:pt x="0" y="37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1" name="Freeform 17">
              <a:extLst>
                <a:ext uri="{FF2B5EF4-FFF2-40B4-BE49-F238E27FC236}">
                  <a16:creationId xmlns:a16="http://schemas.microsoft.com/office/drawing/2014/main" id="{DD5528B3-4FF0-4DF3-AFB8-05005E79D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9" y="200"/>
              <a:ext cx="83" cy="73"/>
            </a:xfrm>
            <a:custGeom>
              <a:avLst/>
              <a:gdLst>
                <a:gd name="T0" fmla="*/ 3 w 83"/>
                <a:gd name="T1" fmla="*/ 62 h 73"/>
                <a:gd name="T2" fmla="*/ 58 w 83"/>
                <a:gd name="T3" fmla="*/ 13 h 73"/>
                <a:gd name="T4" fmla="*/ 17 w 83"/>
                <a:gd name="T5" fmla="*/ 13 h 73"/>
                <a:gd name="T6" fmla="*/ 21 w 83"/>
                <a:gd name="T7" fmla="*/ 0 h 73"/>
                <a:gd name="T8" fmla="*/ 83 w 83"/>
                <a:gd name="T9" fmla="*/ 0 h 73"/>
                <a:gd name="T10" fmla="*/ 81 w 83"/>
                <a:gd name="T11" fmla="*/ 11 h 73"/>
                <a:gd name="T12" fmla="*/ 26 w 83"/>
                <a:gd name="T13" fmla="*/ 60 h 73"/>
                <a:gd name="T14" fmla="*/ 68 w 83"/>
                <a:gd name="T15" fmla="*/ 60 h 73"/>
                <a:gd name="T16" fmla="*/ 64 w 83"/>
                <a:gd name="T17" fmla="*/ 73 h 73"/>
                <a:gd name="T18" fmla="*/ 0 w 83"/>
                <a:gd name="T19" fmla="*/ 73 h 73"/>
                <a:gd name="T20" fmla="*/ 3 w 83"/>
                <a:gd name="T21" fmla="*/ 6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3" h="73">
                  <a:moveTo>
                    <a:pt x="3" y="62"/>
                  </a:moveTo>
                  <a:lnTo>
                    <a:pt x="58" y="13"/>
                  </a:lnTo>
                  <a:lnTo>
                    <a:pt x="17" y="13"/>
                  </a:lnTo>
                  <a:lnTo>
                    <a:pt x="21" y="0"/>
                  </a:lnTo>
                  <a:lnTo>
                    <a:pt x="83" y="0"/>
                  </a:lnTo>
                  <a:lnTo>
                    <a:pt x="81" y="11"/>
                  </a:lnTo>
                  <a:lnTo>
                    <a:pt x="26" y="60"/>
                  </a:lnTo>
                  <a:lnTo>
                    <a:pt x="68" y="60"/>
                  </a:lnTo>
                  <a:lnTo>
                    <a:pt x="64" y="73"/>
                  </a:lnTo>
                  <a:lnTo>
                    <a:pt x="0" y="73"/>
                  </a:lnTo>
                  <a:lnTo>
                    <a:pt x="3" y="62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2" name="Freeform 18">
              <a:extLst>
                <a:ext uri="{FF2B5EF4-FFF2-40B4-BE49-F238E27FC236}">
                  <a16:creationId xmlns:a16="http://schemas.microsoft.com/office/drawing/2014/main" id="{65B26B62-5FC2-477D-95D9-796AE32AA9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2" y="200"/>
              <a:ext cx="95" cy="96"/>
            </a:xfrm>
            <a:custGeom>
              <a:avLst/>
              <a:gdLst>
                <a:gd name="T0" fmla="*/ 0 w 78"/>
                <a:gd name="T1" fmla="*/ 75 h 79"/>
                <a:gd name="T2" fmla="*/ 7 w 78"/>
                <a:gd name="T3" fmla="*/ 65 h 79"/>
                <a:gd name="T4" fmla="*/ 15 w 78"/>
                <a:gd name="T5" fmla="*/ 67 h 79"/>
                <a:gd name="T6" fmla="*/ 26 w 78"/>
                <a:gd name="T7" fmla="*/ 61 h 79"/>
                <a:gd name="T8" fmla="*/ 17 w 78"/>
                <a:gd name="T9" fmla="*/ 0 h 79"/>
                <a:gd name="T10" fmla="*/ 31 w 78"/>
                <a:gd name="T11" fmla="*/ 0 h 79"/>
                <a:gd name="T12" fmla="*/ 36 w 78"/>
                <a:gd name="T13" fmla="*/ 45 h 79"/>
                <a:gd name="T14" fmla="*/ 63 w 78"/>
                <a:gd name="T15" fmla="*/ 0 h 79"/>
                <a:gd name="T16" fmla="*/ 78 w 78"/>
                <a:gd name="T17" fmla="*/ 0 h 79"/>
                <a:gd name="T18" fmla="*/ 39 w 78"/>
                <a:gd name="T19" fmla="*/ 62 h 79"/>
                <a:gd name="T20" fmla="*/ 14 w 78"/>
                <a:gd name="T21" fmla="*/ 79 h 79"/>
                <a:gd name="T22" fmla="*/ 0 w 78"/>
                <a:gd name="T23" fmla="*/ 7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8" h="79">
                  <a:moveTo>
                    <a:pt x="0" y="75"/>
                  </a:moveTo>
                  <a:cubicBezTo>
                    <a:pt x="7" y="65"/>
                    <a:pt x="7" y="65"/>
                    <a:pt x="7" y="65"/>
                  </a:cubicBezTo>
                  <a:cubicBezTo>
                    <a:pt x="9" y="66"/>
                    <a:pt x="13" y="67"/>
                    <a:pt x="15" y="67"/>
                  </a:cubicBezTo>
                  <a:cubicBezTo>
                    <a:pt x="19" y="67"/>
                    <a:pt x="22" y="66"/>
                    <a:pt x="26" y="6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31" y="74"/>
                    <a:pt x="24" y="79"/>
                    <a:pt x="14" y="79"/>
                  </a:cubicBezTo>
                  <a:cubicBezTo>
                    <a:pt x="8" y="79"/>
                    <a:pt x="4" y="78"/>
                    <a:pt x="0" y="75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3" name="Freeform 19">
              <a:extLst>
                <a:ext uri="{FF2B5EF4-FFF2-40B4-BE49-F238E27FC236}">
                  <a16:creationId xmlns:a16="http://schemas.microsoft.com/office/drawing/2014/main" id="{128706F8-7A4D-497A-9D9C-8CB8B3C65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3" y="198"/>
              <a:ext cx="79" cy="75"/>
            </a:xfrm>
            <a:custGeom>
              <a:avLst/>
              <a:gdLst>
                <a:gd name="T0" fmla="*/ 16 w 65"/>
                <a:gd name="T1" fmla="*/ 2 h 62"/>
                <a:gd name="T2" fmla="*/ 30 w 65"/>
                <a:gd name="T3" fmla="*/ 2 h 62"/>
                <a:gd name="T4" fmla="*/ 28 w 65"/>
                <a:gd name="T5" fmla="*/ 9 h 62"/>
                <a:gd name="T6" fmla="*/ 47 w 65"/>
                <a:gd name="T7" fmla="*/ 0 h 62"/>
                <a:gd name="T8" fmla="*/ 65 w 65"/>
                <a:gd name="T9" fmla="*/ 19 h 62"/>
                <a:gd name="T10" fmla="*/ 63 w 65"/>
                <a:gd name="T11" fmla="*/ 29 h 62"/>
                <a:gd name="T12" fmla="*/ 55 w 65"/>
                <a:gd name="T13" fmla="*/ 62 h 62"/>
                <a:gd name="T14" fmla="*/ 41 w 65"/>
                <a:gd name="T15" fmla="*/ 62 h 62"/>
                <a:gd name="T16" fmla="*/ 50 w 65"/>
                <a:gd name="T17" fmla="*/ 29 h 62"/>
                <a:gd name="T18" fmla="*/ 51 w 65"/>
                <a:gd name="T19" fmla="*/ 23 h 62"/>
                <a:gd name="T20" fmla="*/ 40 w 65"/>
                <a:gd name="T21" fmla="*/ 13 h 62"/>
                <a:gd name="T22" fmla="*/ 23 w 65"/>
                <a:gd name="T23" fmla="*/ 28 h 62"/>
                <a:gd name="T24" fmla="*/ 14 w 65"/>
                <a:gd name="T25" fmla="*/ 62 h 62"/>
                <a:gd name="T26" fmla="*/ 0 w 65"/>
                <a:gd name="T27" fmla="*/ 62 h 62"/>
                <a:gd name="T28" fmla="*/ 16 w 65"/>
                <a:gd name="T29" fmla="*/ 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" h="62">
                  <a:moveTo>
                    <a:pt x="16" y="2"/>
                  </a:moveTo>
                  <a:cubicBezTo>
                    <a:pt x="30" y="2"/>
                    <a:pt x="30" y="2"/>
                    <a:pt x="30" y="2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33" y="5"/>
                    <a:pt x="39" y="0"/>
                    <a:pt x="47" y="0"/>
                  </a:cubicBezTo>
                  <a:cubicBezTo>
                    <a:pt x="58" y="0"/>
                    <a:pt x="65" y="7"/>
                    <a:pt x="65" y="19"/>
                  </a:cubicBezTo>
                  <a:cubicBezTo>
                    <a:pt x="65" y="22"/>
                    <a:pt x="64" y="26"/>
                    <a:pt x="63" y="29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50" y="27"/>
                    <a:pt x="51" y="24"/>
                    <a:pt x="51" y="23"/>
                  </a:cubicBezTo>
                  <a:cubicBezTo>
                    <a:pt x="51" y="16"/>
                    <a:pt x="47" y="13"/>
                    <a:pt x="40" y="13"/>
                  </a:cubicBezTo>
                  <a:cubicBezTo>
                    <a:pt x="32" y="13"/>
                    <a:pt x="26" y="19"/>
                    <a:pt x="23" y="28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0" y="62"/>
                    <a:pt x="0" y="62"/>
                    <a:pt x="0" y="62"/>
                  </a:cubicBezTo>
                  <a:lnTo>
                    <a:pt x="16" y="2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4" name="Freeform 20">
              <a:extLst>
                <a:ext uri="{FF2B5EF4-FFF2-40B4-BE49-F238E27FC236}">
                  <a16:creationId xmlns:a16="http://schemas.microsoft.com/office/drawing/2014/main" id="{948048C6-6779-455C-9D59-C535745500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00" y="199"/>
              <a:ext cx="73" cy="77"/>
            </a:xfrm>
            <a:custGeom>
              <a:avLst/>
              <a:gdLst>
                <a:gd name="T0" fmla="*/ 0 w 60"/>
                <a:gd name="T1" fmla="*/ 46 h 63"/>
                <a:gd name="T2" fmla="*/ 27 w 60"/>
                <a:gd name="T3" fmla="*/ 24 h 63"/>
                <a:gd name="T4" fmla="*/ 45 w 60"/>
                <a:gd name="T5" fmla="*/ 27 h 63"/>
                <a:gd name="T6" fmla="*/ 46 w 60"/>
                <a:gd name="T7" fmla="*/ 26 h 63"/>
                <a:gd name="T8" fmla="*/ 46 w 60"/>
                <a:gd name="T9" fmla="*/ 21 h 63"/>
                <a:gd name="T10" fmla="*/ 33 w 60"/>
                <a:gd name="T11" fmla="*/ 12 h 63"/>
                <a:gd name="T12" fmla="*/ 16 w 60"/>
                <a:gd name="T13" fmla="*/ 15 h 63"/>
                <a:gd name="T14" fmla="*/ 14 w 60"/>
                <a:gd name="T15" fmla="*/ 4 h 63"/>
                <a:gd name="T16" fmla="*/ 36 w 60"/>
                <a:gd name="T17" fmla="*/ 0 h 63"/>
                <a:gd name="T18" fmla="*/ 60 w 60"/>
                <a:gd name="T19" fmla="*/ 19 h 63"/>
                <a:gd name="T20" fmla="*/ 59 w 60"/>
                <a:gd name="T21" fmla="*/ 27 h 63"/>
                <a:gd name="T22" fmla="*/ 50 w 60"/>
                <a:gd name="T23" fmla="*/ 61 h 63"/>
                <a:gd name="T24" fmla="*/ 36 w 60"/>
                <a:gd name="T25" fmla="*/ 61 h 63"/>
                <a:gd name="T26" fmla="*/ 38 w 60"/>
                <a:gd name="T27" fmla="*/ 53 h 63"/>
                <a:gd name="T28" fmla="*/ 19 w 60"/>
                <a:gd name="T29" fmla="*/ 63 h 63"/>
                <a:gd name="T30" fmla="*/ 0 w 60"/>
                <a:gd name="T31" fmla="*/ 46 h 63"/>
                <a:gd name="T32" fmla="*/ 42 w 60"/>
                <a:gd name="T33" fmla="*/ 38 h 63"/>
                <a:gd name="T34" fmla="*/ 43 w 60"/>
                <a:gd name="T35" fmla="*/ 35 h 63"/>
                <a:gd name="T36" fmla="*/ 29 w 60"/>
                <a:gd name="T37" fmla="*/ 33 h 63"/>
                <a:gd name="T38" fmla="*/ 14 w 60"/>
                <a:gd name="T39" fmla="*/ 44 h 63"/>
                <a:gd name="T40" fmla="*/ 24 w 60"/>
                <a:gd name="T41" fmla="*/ 52 h 63"/>
                <a:gd name="T42" fmla="*/ 42 w 60"/>
                <a:gd name="T43" fmla="*/ 38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63">
                  <a:moveTo>
                    <a:pt x="0" y="46"/>
                  </a:moveTo>
                  <a:cubicBezTo>
                    <a:pt x="0" y="32"/>
                    <a:pt x="11" y="24"/>
                    <a:pt x="27" y="24"/>
                  </a:cubicBezTo>
                  <a:cubicBezTo>
                    <a:pt x="34" y="24"/>
                    <a:pt x="40" y="25"/>
                    <a:pt x="45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4"/>
                    <a:pt x="46" y="23"/>
                    <a:pt x="46" y="21"/>
                  </a:cubicBezTo>
                  <a:cubicBezTo>
                    <a:pt x="46" y="16"/>
                    <a:pt x="42" y="12"/>
                    <a:pt x="33" y="12"/>
                  </a:cubicBezTo>
                  <a:cubicBezTo>
                    <a:pt x="27" y="12"/>
                    <a:pt x="21" y="13"/>
                    <a:pt x="16" y="15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20" y="1"/>
                    <a:pt x="28" y="0"/>
                    <a:pt x="36" y="0"/>
                  </a:cubicBezTo>
                  <a:cubicBezTo>
                    <a:pt x="52" y="0"/>
                    <a:pt x="60" y="7"/>
                    <a:pt x="60" y="19"/>
                  </a:cubicBezTo>
                  <a:cubicBezTo>
                    <a:pt x="60" y="21"/>
                    <a:pt x="60" y="24"/>
                    <a:pt x="59" y="27"/>
                  </a:cubicBezTo>
                  <a:cubicBezTo>
                    <a:pt x="50" y="61"/>
                    <a:pt x="50" y="61"/>
                    <a:pt x="50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3" y="59"/>
                    <a:pt x="27" y="63"/>
                    <a:pt x="19" y="63"/>
                  </a:cubicBezTo>
                  <a:cubicBezTo>
                    <a:pt x="8" y="63"/>
                    <a:pt x="0" y="56"/>
                    <a:pt x="0" y="46"/>
                  </a:cubicBezTo>
                  <a:moveTo>
                    <a:pt x="42" y="38"/>
                  </a:moveTo>
                  <a:cubicBezTo>
                    <a:pt x="43" y="35"/>
                    <a:pt x="43" y="35"/>
                    <a:pt x="43" y="35"/>
                  </a:cubicBezTo>
                  <a:cubicBezTo>
                    <a:pt x="39" y="34"/>
                    <a:pt x="35" y="33"/>
                    <a:pt x="29" y="33"/>
                  </a:cubicBezTo>
                  <a:cubicBezTo>
                    <a:pt x="20" y="33"/>
                    <a:pt x="14" y="38"/>
                    <a:pt x="14" y="44"/>
                  </a:cubicBezTo>
                  <a:cubicBezTo>
                    <a:pt x="14" y="49"/>
                    <a:pt x="18" y="52"/>
                    <a:pt x="24" y="52"/>
                  </a:cubicBezTo>
                  <a:cubicBezTo>
                    <a:pt x="33" y="52"/>
                    <a:pt x="40" y="46"/>
                    <a:pt x="42" y="38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5" name="Freeform 21">
              <a:extLst>
                <a:ext uri="{FF2B5EF4-FFF2-40B4-BE49-F238E27FC236}">
                  <a16:creationId xmlns:a16="http://schemas.microsoft.com/office/drawing/2014/main" id="{03CD199C-3601-46DF-9720-B6BC31846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0" y="198"/>
              <a:ext cx="72" cy="78"/>
            </a:xfrm>
            <a:custGeom>
              <a:avLst/>
              <a:gdLst>
                <a:gd name="T0" fmla="*/ 0 w 59"/>
                <a:gd name="T1" fmla="*/ 53 h 64"/>
                <a:gd name="T2" fmla="*/ 9 w 59"/>
                <a:gd name="T3" fmla="*/ 44 h 64"/>
                <a:gd name="T4" fmla="*/ 28 w 59"/>
                <a:gd name="T5" fmla="*/ 53 h 64"/>
                <a:gd name="T6" fmla="*/ 38 w 59"/>
                <a:gd name="T7" fmla="*/ 46 h 64"/>
                <a:gd name="T8" fmla="*/ 29 w 59"/>
                <a:gd name="T9" fmla="*/ 38 h 64"/>
                <a:gd name="T10" fmla="*/ 12 w 59"/>
                <a:gd name="T11" fmla="*/ 21 h 64"/>
                <a:gd name="T12" fmla="*/ 35 w 59"/>
                <a:gd name="T13" fmla="*/ 0 h 64"/>
                <a:gd name="T14" fmla="*/ 59 w 59"/>
                <a:gd name="T15" fmla="*/ 9 h 64"/>
                <a:gd name="T16" fmla="*/ 51 w 59"/>
                <a:gd name="T17" fmla="*/ 18 h 64"/>
                <a:gd name="T18" fmla="*/ 34 w 59"/>
                <a:gd name="T19" fmla="*/ 11 h 64"/>
                <a:gd name="T20" fmla="*/ 25 w 59"/>
                <a:gd name="T21" fmla="*/ 18 h 64"/>
                <a:gd name="T22" fmla="*/ 35 w 59"/>
                <a:gd name="T23" fmla="*/ 26 h 64"/>
                <a:gd name="T24" fmla="*/ 51 w 59"/>
                <a:gd name="T25" fmla="*/ 43 h 64"/>
                <a:gd name="T26" fmla="*/ 27 w 59"/>
                <a:gd name="T27" fmla="*/ 64 h 64"/>
                <a:gd name="T28" fmla="*/ 0 w 59"/>
                <a:gd name="T29" fmla="*/ 5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" h="64">
                  <a:moveTo>
                    <a:pt x="0" y="53"/>
                  </a:moveTo>
                  <a:cubicBezTo>
                    <a:pt x="9" y="44"/>
                    <a:pt x="9" y="44"/>
                    <a:pt x="9" y="44"/>
                  </a:cubicBezTo>
                  <a:cubicBezTo>
                    <a:pt x="15" y="51"/>
                    <a:pt x="22" y="53"/>
                    <a:pt x="28" y="53"/>
                  </a:cubicBezTo>
                  <a:cubicBezTo>
                    <a:pt x="34" y="53"/>
                    <a:pt x="38" y="50"/>
                    <a:pt x="38" y="46"/>
                  </a:cubicBezTo>
                  <a:cubicBezTo>
                    <a:pt x="38" y="43"/>
                    <a:pt x="35" y="40"/>
                    <a:pt x="29" y="38"/>
                  </a:cubicBezTo>
                  <a:cubicBezTo>
                    <a:pt x="19" y="34"/>
                    <a:pt x="12" y="30"/>
                    <a:pt x="12" y="21"/>
                  </a:cubicBezTo>
                  <a:cubicBezTo>
                    <a:pt x="12" y="9"/>
                    <a:pt x="21" y="0"/>
                    <a:pt x="35" y="0"/>
                  </a:cubicBezTo>
                  <a:cubicBezTo>
                    <a:pt x="45" y="0"/>
                    <a:pt x="54" y="5"/>
                    <a:pt x="59" y="9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46" y="14"/>
                    <a:pt x="40" y="11"/>
                    <a:pt x="34" y="11"/>
                  </a:cubicBezTo>
                  <a:cubicBezTo>
                    <a:pt x="28" y="11"/>
                    <a:pt x="25" y="14"/>
                    <a:pt x="25" y="18"/>
                  </a:cubicBezTo>
                  <a:cubicBezTo>
                    <a:pt x="25" y="21"/>
                    <a:pt x="28" y="23"/>
                    <a:pt x="35" y="26"/>
                  </a:cubicBezTo>
                  <a:cubicBezTo>
                    <a:pt x="44" y="30"/>
                    <a:pt x="51" y="34"/>
                    <a:pt x="51" y="43"/>
                  </a:cubicBezTo>
                  <a:cubicBezTo>
                    <a:pt x="51" y="56"/>
                    <a:pt x="41" y="64"/>
                    <a:pt x="27" y="64"/>
                  </a:cubicBezTo>
                  <a:cubicBezTo>
                    <a:pt x="18" y="64"/>
                    <a:pt x="7" y="60"/>
                    <a:pt x="0" y="53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6" name="Freeform 22">
              <a:extLst>
                <a:ext uri="{FF2B5EF4-FFF2-40B4-BE49-F238E27FC236}">
                  <a16:creationId xmlns:a16="http://schemas.microsoft.com/office/drawing/2014/main" id="{E3E93D2D-A7EE-49A5-872B-774A10EFBC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" y="172"/>
              <a:ext cx="45" cy="101"/>
            </a:xfrm>
            <a:custGeom>
              <a:avLst/>
              <a:gdLst>
                <a:gd name="T0" fmla="*/ 19 w 45"/>
                <a:gd name="T1" fmla="*/ 28 h 101"/>
                <a:gd name="T2" fmla="*/ 37 w 45"/>
                <a:gd name="T3" fmla="*/ 28 h 101"/>
                <a:gd name="T4" fmla="*/ 17 w 45"/>
                <a:gd name="T5" fmla="*/ 101 h 101"/>
                <a:gd name="T6" fmla="*/ 0 w 45"/>
                <a:gd name="T7" fmla="*/ 101 h 101"/>
                <a:gd name="T8" fmla="*/ 19 w 45"/>
                <a:gd name="T9" fmla="*/ 28 h 101"/>
                <a:gd name="T10" fmla="*/ 27 w 45"/>
                <a:gd name="T11" fmla="*/ 0 h 101"/>
                <a:gd name="T12" fmla="*/ 45 w 45"/>
                <a:gd name="T13" fmla="*/ 0 h 101"/>
                <a:gd name="T14" fmla="*/ 40 w 45"/>
                <a:gd name="T15" fmla="*/ 16 h 101"/>
                <a:gd name="T16" fmla="*/ 22 w 45"/>
                <a:gd name="T17" fmla="*/ 16 h 101"/>
                <a:gd name="T18" fmla="*/ 27 w 45"/>
                <a:gd name="T1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101">
                  <a:moveTo>
                    <a:pt x="19" y="28"/>
                  </a:moveTo>
                  <a:lnTo>
                    <a:pt x="37" y="28"/>
                  </a:lnTo>
                  <a:lnTo>
                    <a:pt x="17" y="101"/>
                  </a:lnTo>
                  <a:lnTo>
                    <a:pt x="0" y="101"/>
                  </a:lnTo>
                  <a:lnTo>
                    <a:pt x="19" y="28"/>
                  </a:lnTo>
                  <a:close/>
                  <a:moveTo>
                    <a:pt x="27" y="0"/>
                  </a:moveTo>
                  <a:lnTo>
                    <a:pt x="45" y="0"/>
                  </a:lnTo>
                  <a:lnTo>
                    <a:pt x="40" y="16"/>
                  </a:lnTo>
                  <a:lnTo>
                    <a:pt x="22" y="16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7" name="Freeform 23">
              <a:extLst>
                <a:ext uri="{FF2B5EF4-FFF2-40B4-BE49-F238E27FC236}">
                  <a16:creationId xmlns:a16="http://schemas.microsoft.com/office/drawing/2014/main" id="{7A1D75BD-5710-4E16-B89B-627C98C4A2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8" y="198"/>
              <a:ext cx="73" cy="100"/>
            </a:xfrm>
            <a:custGeom>
              <a:avLst/>
              <a:gdLst>
                <a:gd name="T0" fmla="*/ 0 w 60"/>
                <a:gd name="T1" fmla="*/ 37 h 82"/>
                <a:gd name="T2" fmla="*/ 36 w 60"/>
                <a:gd name="T3" fmla="*/ 0 h 82"/>
                <a:gd name="T4" fmla="*/ 60 w 60"/>
                <a:gd name="T5" fmla="*/ 24 h 82"/>
                <a:gd name="T6" fmla="*/ 58 w 60"/>
                <a:gd name="T7" fmla="*/ 37 h 82"/>
                <a:gd name="T8" fmla="*/ 14 w 60"/>
                <a:gd name="T9" fmla="*/ 37 h 82"/>
                <a:gd name="T10" fmla="*/ 29 w 60"/>
                <a:gd name="T11" fmla="*/ 52 h 82"/>
                <a:gd name="T12" fmla="*/ 45 w 60"/>
                <a:gd name="T13" fmla="*/ 46 h 82"/>
                <a:gd name="T14" fmla="*/ 52 w 60"/>
                <a:gd name="T15" fmla="*/ 55 h 82"/>
                <a:gd name="T16" fmla="*/ 45 w 60"/>
                <a:gd name="T17" fmla="*/ 60 h 82"/>
                <a:gd name="T18" fmla="*/ 36 w 60"/>
                <a:gd name="T19" fmla="*/ 71 h 82"/>
                <a:gd name="T20" fmla="*/ 43 w 60"/>
                <a:gd name="T21" fmla="*/ 75 h 82"/>
                <a:gd name="T22" fmla="*/ 42 w 60"/>
                <a:gd name="T23" fmla="*/ 81 h 82"/>
                <a:gd name="T24" fmla="*/ 37 w 60"/>
                <a:gd name="T25" fmla="*/ 82 h 82"/>
                <a:gd name="T26" fmla="*/ 25 w 60"/>
                <a:gd name="T27" fmla="*/ 74 h 82"/>
                <a:gd name="T28" fmla="*/ 31 w 60"/>
                <a:gd name="T29" fmla="*/ 63 h 82"/>
                <a:gd name="T30" fmla="*/ 28 w 60"/>
                <a:gd name="T31" fmla="*/ 64 h 82"/>
                <a:gd name="T32" fmla="*/ 0 w 60"/>
                <a:gd name="T33" fmla="*/ 37 h 82"/>
                <a:gd name="T34" fmla="*/ 47 w 60"/>
                <a:gd name="T35" fmla="*/ 27 h 82"/>
                <a:gd name="T36" fmla="*/ 47 w 60"/>
                <a:gd name="T37" fmla="*/ 23 h 82"/>
                <a:gd name="T38" fmla="*/ 35 w 60"/>
                <a:gd name="T39" fmla="*/ 12 h 82"/>
                <a:gd name="T40" fmla="*/ 15 w 60"/>
                <a:gd name="T41" fmla="*/ 27 h 82"/>
                <a:gd name="T42" fmla="*/ 47 w 60"/>
                <a:gd name="T43" fmla="*/ 27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82">
                  <a:moveTo>
                    <a:pt x="0" y="37"/>
                  </a:moveTo>
                  <a:cubicBezTo>
                    <a:pt x="0" y="19"/>
                    <a:pt x="15" y="0"/>
                    <a:pt x="36" y="0"/>
                  </a:cubicBezTo>
                  <a:cubicBezTo>
                    <a:pt x="52" y="0"/>
                    <a:pt x="60" y="11"/>
                    <a:pt x="60" y="24"/>
                  </a:cubicBezTo>
                  <a:cubicBezTo>
                    <a:pt x="60" y="28"/>
                    <a:pt x="59" y="33"/>
                    <a:pt x="58" y="37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14" y="46"/>
                    <a:pt x="19" y="52"/>
                    <a:pt x="29" y="52"/>
                  </a:cubicBezTo>
                  <a:cubicBezTo>
                    <a:pt x="35" y="52"/>
                    <a:pt x="40" y="50"/>
                    <a:pt x="45" y="46"/>
                  </a:cubicBezTo>
                  <a:cubicBezTo>
                    <a:pt x="52" y="55"/>
                    <a:pt x="52" y="55"/>
                    <a:pt x="52" y="55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39" y="65"/>
                    <a:pt x="36" y="68"/>
                    <a:pt x="36" y="71"/>
                  </a:cubicBezTo>
                  <a:cubicBezTo>
                    <a:pt x="36" y="73"/>
                    <a:pt x="39" y="74"/>
                    <a:pt x="43" y="75"/>
                  </a:cubicBezTo>
                  <a:cubicBezTo>
                    <a:pt x="42" y="81"/>
                    <a:pt x="42" y="81"/>
                    <a:pt x="42" y="81"/>
                  </a:cubicBezTo>
                  <a:cubicBezTo>
                    <a:pt x="40" y="81"/>
                    <a:pt x="39" y="82"/>
                    <a:pt x="37" y="82"/>
                  </a:cubicBezTo>
                  <a:cubicBezTo>
                    <a:pt x="30" y="81"/>
                    <a:pt x="25" y="79"/>
                    <a:pt x="25" y="74"/>
                  </a:cubicBezTo>
                  <a:cubicBezTo>
                    <a:pt x="25" y="70"/>
                    <a:pt x="28" y="67"/>
                    <a:pt x="31" y="63"/>
                  </a:cubicBezTo>
                  <a:cubicBezTo>
                    <a:pt x="30" y="64"/>
                    <a:pt x="29" y="64"/>
                    <a:pt x="28" y="64"/>
                  </a:cubicBezTo>
                  <a:cubicBezTo>
                    <a:pt x="11" y="64"/>
                    <a:pt x="0" y="53"/>
                    <a:pt x="0" y="37"/>
                  </a:cubicBezTo>
                  <a:moveTo>
                    <a:pt x="47" y="27"/>
                  </a:moveTo>
                  <a:cubicBezTo>
                    <a:pt x="47" y="27"/>
                    <a:pt x="47" y="25"/>
                    <a:pt x="47" y="23"/>
                  </a:cubicBezTo>
                  <a:cubicBezTo>
                    <a:pt x="47" y="17"/>
                    <a:pt x="44" y="12"/>
                    <a:pt x="35" y="12"/>
                  </a:cubicBezTo>
                  <a:cubicBezTo>
                    <a:pt x="26" y="12"/>
                    <a:pt x="18" y="18"/>
                    <a:pt x="15" y="27"/>
                  </a:cubicBezTo>
                  <a:lnTo>
                    <a:pt x="47" y="27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8" name="Freeform 24">
              <a:extLst>
                <a:ext uri="{FF2B5EF4-FFF2-40B4-BE49-F238E27FC236}">
                  <a16:creationId xmlns:a16="http://schemas.microsoft.com/office/drawing/2014/main" id="{80EF2078-67D6-499A-9E90-4170E554B8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0" y="366"/>
              <a:ext cx="78" cy="78"/>
            </a:xfrm>
            <a:custGeom>
              <a:avLst/>
              <a:gdLst>
                <a:gd name="T0" fmla="*/ 0 w 64"/>
                <a:gd name="T1" fmla="*/ 36 h 64"/>
                <a:gd name="T2" fmla="*/ 36 w 64"/>
                <a:gd name="T3" fmla="*/ 0 h 64"/>
                <a:gd name="T4" fmla="*/ 64 w 64"/>
                <a:gd name="T5" fmla="*/ 28 h 64"/>
                <a:gd name="T6" fmla="*/ 29 w 64"/>
                <a:gd name="T7" fmla="*/ 64 h 64"/>
                <a:gd name="T8" fmla="*/ 0 w 64"/>
                <a:gd name="T9" fmla="*/ 36 h 64"/>
                <a:gd name="T10" fmla="*/ 50 w 64"/>
                <a:gd name="T11" fmla="*/ 29 h 64"/>
                <a:gd name="T12" fmla="*/ 35 w 64"/>
                <a:gd name="T13" fmla="*/ 12 h 64"/>
                <a:gd name="T14" fmla="*/ 14 w 64"/>
                <a:gd name="T15" fmla="*/ 36 h 64"/>
                <a:gd name="T16" fmla="*/ 30 w 64"/>
                <a:gd name="T17" fmla="*/ 52 h 64"/>
                <a:gd name="T18" fmla="*/ 50 w 64"/>
                <a:gd name="T19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0" y="36"/>
                  </a:moveTo>
                  <a:cubicBezTo>
                    <a:pt x="0" y="18"/>
                    <a:pt x="16" y="0"/>
                    <a:pt x="36" y="0"/>
                  </a:cubicBezTo>
                  <a:cubicBezTo>
                    <a:pt x="53" y="0"/>
                    <a:pt x="64" y="12"/>
                    <a:pt x="64" y="28"/>
                  </a:cubicBezTo>
                  <a:cubicBezTo>
                    <a:pt x="64" y="47"/>
                    <a:pt x="48" y="64"/>
                    <a:pt x="29" y="64"/>
                  </a:cubicBezTo>
                  <a:cubicBezTo>
                    <a:pt x="11" y="64"/>
                    <a:pt x="0" y="52"/>
                    <a:pt x="0" y="36"/>
                  </a:cubicBezTo>
                  <a:moveTo>
                    <a:pt x="50" y="29"/>
                  </a:moveTo>
                  <a:cubicBezTo>
                    <a:pt x="50" y="18"/>
                    <a:pt x="44" y="12"/>
                    <a:pt x="35" y="12"/>
                  </a:cubicBezTo>
                  <a:cubicBezTo>
                    <a:pt x="23" y="12"/>
                    <a:pt x="14" y="25"/>
                    <a:pt x="14" y="36"/>
                  </a:cubicBezTo>
                  <a:cubicBezTo>
                    <a:pt x="14" y="46"/>
                    <a:pt x="20" y="52"/>
                    <a:pt x="30" y="52"/>
                  </a:cubicBezTo>
                  <a:cubicBezTo>
                    <a:pt x="41" y="52"/>
                    <a:pt x="50" y="40"/>
                    <a:pt x="50" y="29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9" name="Freeform 25">
              <a:extLst>
                <a:ext uri="{FF2B5EF4-FFF2-40B4-BE49-F238E27FC236}">
                  <a16:creationId xmlns:a16="http://schemas.microsoft.com/office/drawing/2014/main" id="{C812AE1E-FA1C-429B-A1CD-5EE824026F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12" y="339"/>
              <a:ext cx="93" cy="105"/>
            </a:xfrm>
            <a:custGeom>
              <a:avLst/>
              <a:gdLst>
                <a:gd name="T0" fmla="*/ 0 w 77"/>
                <a:gd name="T1" fmla="*/ 60 h 86"/>
                <a:gd name="T2" fmla="*/ 33 w 77"/>
                <a:gd name="T3" fmla="*/ 22 h 86"/>
                <a:gd name="T4" fmla="*/ 54 w 77"/>
                <a:gd name="T5" fmla="*/ 34 h 86"/>
                <a:gd name="T6" fmla="*/ 63 w 77"/>
                <a:gd name="T7" fmla="*/ 0 h 86"/>
                <a:gd name="T8" fmla="*/ 77 w 77"/>
                <a:gd name="T9" fmla="*/ 0 h 86"/>
                <a:gd name="T10" fmla="*/ 54 w 77"/>
                <a:gd name="T11" fmla="*/ 84 h 86"/>
                <a:gd name="T12" fmla="*/ 40 w 77"/>
                <a:gd name="T13" fmla="*/ 84 h 86"/>
                <a:gd name="T14" fmla="*/ 43 w 77"/>
                <a:gd name="T15" fmla="*/ 76 h 86"/>
                <a:gd name="T16" fmla="*/ 23 w 77"/>
                <a:gd name="T17" fmla="*/ 86 h 86"/>
                <a:gd name="T18" fmla="*/ 0 w 77"/>
                <a:gd name="T19" fmla="*/ 60 h 86"/>
                <a:gd name="T20" fmla="*/ 50 w 77"/>
                <a:gd name="T21" fmla="*/ 50 h 86"/>
                <a:gd name="T22" fmla="*/ 35 w 77"/>
                <a:gd name="T23" fmla="*/ 34 h 86"/>
                <a:gd name="T24" fmla="*/ 14 w 77"/>
                <a:gd name="T25" fmla="*/ 59 h 86"/>
                <a:gd name="T26" fmla="*/ 29 w 77"/>
                <a:gd name="T27" fmla="*/ 74 h 86"/>
                <a:gd name="T28" fmla="*/ 50 w 77"/>
                <a:gd name="T29" fmla="*/ 5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7" h="86">
                  <a:moveTo>
                    <a:pt x="0" y="60"/>
                  </a:moveTo>
                  <a:cubicBezTo>
                    <a:pt x="0" y="38"/>
                    <a:pt x="16" y="22"/>
                    <a:pt x="33" y="22"/>
                  </a:cubicBezTo>
                  <a:cubicBezTo>
                    <a:pt x="44" y="22"/>
                    <a:pt x="50" y="28"/>
                    <a:pt x="54" y="34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3" y="76"/>
                    <a:pt x="43" y="76"/>
                    <a:pt x="43" y="76"/>
                  </a:cubicBezTo>
                  <a:cubicBezTo>
                    <a:pt x="37" y="82"/>
                    <a:pt x="31" y="86"/>
                    <a:pt x="23" y="86"/>
                  </a:cubicBezTo>
                  <a:cubicBezTo>
                    <a:pt x="10" y="86"/>
                    <a:pt x="0" y="76"/>
                    <a:pt x="0" y="60"/>
                  </a:cubicBezTo>
                  <a:moveTo>
                    <a:pt x="50" y="50"/>
                  </a:moveTo>
                  <a:cubicBezTo>
                    <a:pt x="50" y="41"/>
                    <a:pt x="44" y="34"/>
                    <a:pt x="35" y="34"/>
                  </a:cubicBezTo>
                  <a:cubicBezTo>
                    <a:pt x="24" y="34"/>
                    <a:pt x="14" y="45"/>
                    <a:pt x="14" y="59"/>
                  </a:cubicBezTo>
                  <a:cubicBezTo>
                    <a:pt x="14" y="68"/>
                    <a:pt x="20" y="74"/>
                    <a:pt x="29" y="74"/>
                  </a:cubicBezTo>
                  <a:cubicBezTo>
                    <a:pt x="40" y="74"/>
                    <a:pt x="50" y="63"/>
                    <a:pt x="50" y="50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77CF76D9-957D-4BE8-BCE6-F225C47FA5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" y="341"/>
              <a:ext cx="99" cy="103"/>
            </a:xfrm>
            <a:custGeom>
              <a:avLst/>
              <a:gdLst>
                <a:gd name="T0" fmla="*/ 0 w 81"/>
                <a:gd name="T1" fmla="*/ 50 h 84"/>
                <a:gd name="T2" fmla="*/ 49 w 81"/>
                <a:gd name="T3" fmla="*/ 0 h 84"/>
                <a:gd name="T4" fmla="*/ 81 w 81"/>
                <a:gd name="T5" fmla="*/ 18 h 84"/>
                <a:gd name="T6" fmla="*/ 69 w 81"/>
                <a:gd name="T7" fmla="*/ 26 h 84"/>
                <a:gd name="T8" fmla="*/ 48 w 81"/>
                <a:gd name="T9" fmla="*/ 13 h 84"/>
                <a:gd name="T10" fmla="*/ 15 w 81"/>
                <a:gd name="T11" fmla="*/ 49 h 84"/>
                <a:gd name="T12" fmla="*/ 37 w 81"/>
                <a:gd name="T13" fmla="*/ 71 h 84"/>
                <a:gd name="T14" fmla="*/ 58 w 81"/>
                <a:gd name="T15" fmla="*/ 62 h 84"/>
                <a:gd name="T16" fmla="*/ 68 w 81"/>
                <a:gd name="T17" fmla="*/ 71 h 84"/>
                <a:gd name="T18" fmla="*/ 37 w 81"/>
                <a:gd name="T19" fmla="*/ 84 h 84"/>
                <a:gd name="T20" fmla="*/ 0 w 81"/>
                <a:gd name="T21" fmla="*/ 5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84">
                  <a:moveTo>
                    <a:pt x="0" y="50"/>
                  </a:moveTo>
                  <a:cubicBezTo>
                    <a:pt x="0" y="24"/>
                    <a:pt x="22" y="0"/>
                    <a:pt x="49" y="0"/>
                  </a:cubicBezTo>
                  <a:cubicBezTo>
                    <a:pt x="64" y="0"/>
                    <a:pt x="75" y="7"/>
                    <a:pt x="81" y="18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4" y="18"/>
                    <a:pt x="58" y="13"/>
                    <a:pt x="48" y="13"/>
                  </a:cubicBezTo>
                  <a:cubicBezTo>
                    <a:pt x="30" y="13"/>
                    <a:pt x="15" y="30"/>
                    <a:pt x="15" y="49"/>
                  </a:cubicBezTo>
                  <a:cubicBezTo>
                    <a:pt x="15" y="62"/>
                    <a:pt x="24" y="71"/>
                    <a:pt x="37" y="71"/>
                  </a:cubicBezTo>
                  <a:cubicBezTo>
                    <a:pt x="46" y="71"/>
                    <a:pt x="52" y="67"/>
                    <a:pt x="58" y="62"/>
                  </a:cubicBezTo>
                  <a:cubicBezTo>
                    <a:pt x="68" y="71"/>
                    <a:pt x="68" y="71"/>
                    <a:pt x="68" y="71"/>
                  </a:cubicBezTo>
                  <a:cubicBezTo>
                    <a:pt x="60" y="78"/>
                    <a:pt x="51" y="84"/>
                    <a:pt x="37" y="84"/>
                  </a:cubicBezTo>
                  <a:cubicBezTo>
                    <a:pt x="16" y="84"/>
                    <a:pt x="0" y="71"/>
                    <a:pt x="0" y="50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25C67C32-02AE-449E-9C50-0F6916B728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4" y="340"/>
              <a:ext cx="45" cy="101"/>
            </a:xfrm>
            <a:custGeom>
              <a:avLst/>
              <a:gdLst>
                <a:gd name="T0" fmla="*/ 21 w 45"/>
                <a:gd name="T1" fmla="*/ 28 h 101"/>
                <a:gd name="T2" fmla="*/ 37 w 45"/>
                <a:gd name="T3" fmla="*/ 28 h 101"/>
                <a:gd name="T4" fmla="*/ 17 w 45"/>
                <a:gd name="T5" fmla="*/ 101 h 101"/>
                <a:gd name="T6" fmla="*/ 0 w 45"/>
                <a:gd name="T7" fmla="*/ 101 h 101"/>
                <a:gd name="T8" fmla="*/ 21 w 45"/>
                <a:gd name="T9" fmla="*/ 28 h 101"/>
                <a:gd name="T10" fmla="*/ 27 w 45"/>
                <a:gd name="T11" fmla="*/ 0 h 101"/>
                <a:gd name="T12" fmla="*/ 45 w 45"/>
                <a:gd name="T13" fmla="*/ 0 h 101"/>
                <a:gd name="T14" fmla="*/ 40 w 45"/>
                <a:gd name="T15" fmla="*/ 16 h 101"/>
                <a:gd name="T16" fmla="*/ 23 w 45"/>
                <a:gd name="T17" fmla="*/ 16 h 101"/>
                <a:gd name="T18" fmla="*/ 27 w 45"/>
                <a:gd name="T1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101">
                  <a:moveTo>
                    <a:pt x="21" y="28"/>
                  </a:moveTo>
                  <a:lnTo>
                    <a:pt x="37" y="28"/>
                  </a:lnTo>
                  <a:lnTo>
                    <a:pt x="17" y="101"/>
                  </a:lnTo>
                  <a:lnTo>
                    <a:pt x="0" y="101"/>
                  </a:lnTo>
                  <a:lnTo>
                    <a:pt x="21" y="28"/>
                  </a:lnTo>
                  <a:close/>
                  <a:moveTo>
                    <a:pt x="27" y="0"/>
                  </a:moveTo>
                  <a:lnTo>
                    <a:pt x="45" y="0"/>
                  </a:lnTo>
                  <a:lnTo>
                    <a:pt x="40" y="16"/>
                  </a:lnTo>
                  <a:lnTo>
                    <a:pt x="23" y="16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3" name="Freeform 28">
              <a:extLst>
                <a:ext uri="{FF2B5EF4-FFF2-40B4-BE49-F238E27FC236}">
                  <a16:creationId xmlns:a16="http://schemas.microsoft.com/office/drawing/2014/main" id="{A271D348-4133-459E-B763-A861E3787D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9" y="366"/>
              <a:ext cx="73" cy="78"/>
            </a:xfrm>
            <a:custGeom>
              <a:avLst/>
              <a:gdLst>
                <a:gd name="T0" fmla="*/ 29 w 60"/>
                <a:gd name="T1" fmla="*/ 52 h 64"/>
                <a:gd name="T2" fmla="*/ 44 w 60"/>
                <a:gd name="T3" fmla="*/ 47 h 64"/>
                <a:gd name="T4" fmla="*/ 51 w 60"/>
                <a:gd name="T5" fmla="*/ 55 h 64"/>
                <a:gd name="T6" fmla="*/ 27 w 60"/>
                <a:gd name="T7" fmla="*/ 64 h 64"/>
                <a:gd name="T8" fmla="*/ 0 w 60"/>
                <a:gd name="T9" fmla="*/ 37 h 64"/>
                <a:gd name="T10" fmla="*/ 36 w 60"/>
                <a:gd name="T11" fmla="*/ 0 h 64"/>
                <a:gd name="T12" fmla="*/ 60 w 60"/>
                <a:gd name="T13" fmla="*/ 24 h 64"/>
                <a:gd name="T14" fmla="*/ 57 w 60"/>
                <a:gd name="T15" fmla="*/ 37 h 64"/>
                <a:gd name="T16" fmla="*/ 13 w 60"/>
                <a:gd name="T17" fmla="*/ 37 h 64"/>
                <a:gd name="T18" fmla="*/ 29 w 60"/>
                <a:gd name="T19" fmla="*/ 52 h 64"/>
                <a:gd name="T20" fmla="*/ 46 w 60"/>
                <a:gd name="T21" fmla="*/ 28 h 64"/>
                <a:gd name="T22" fmla="*/ 47 w 60"/>
                <a:gd name="T23" fmla="*/ 23 h 64"/>
                <a:gd name="T24" fmla="*/ 35 w 60"/>
                <a:gd name="T25" fmla="*/ 12 h 64"/>
                <a:gd name="T26" fmla="*/ 15 w 60"/>
                <a:gd name="T27" fmla="*/ 28 h 64"/>
                <a:gd name="T28" fmla="*/ 46 w 60"/>
                <a:gd name="T29" fmla="*/ 2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0" h="64">
                  <a:moveTo>
                    <a:pt x="29" y="52"/>
                  </a:moveTo>
                  <a:cubicBezTo>
                    <a:pt x="35" y="52"/>
                    <a:pt x="39" y="50"/>
                    <a:pt x="44" y="47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45" y="60"/>
                    <a:pt x="38" y="64"/>
                    <a:pt x="27" y="64"/>
                  </a:cubicBezTo>
                  <a:cubicBezTo>
                    <a:pt x="10" y="64"/>
                    <a:pt x="0" y="54"/>
                    <a:pt x="0" y="37"/>
                  </a:cubicBezTo>
                  <a:cubicBezTo>
                    <a:pt x="0" y="19"/>
                    <a:pt x="14" y="0"/>
                    <a:pt x="36" y="0"/>
                  </a:cubicBezTo>
                  <a:cubicBezTo>
                    <a:pt x="51" y="0"/>
                    <a:pt x="60" y="11"/>
                    <a:pt x="60" y="24"/>
                  </a:cubicBezTo>
                  <a:cubicBezTo>
                    <a:pt x="60" y="28"/>
                    <a:pt x="59" y="33"/>
                    <a:pt x="57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46"/>
                    <a:pt x="19" y="52"/>
                    <a:pt x="29" y="52"/>
                  </a:cubicBezTo>
                  <a:moveTo>
                    <a:pt x="46" y="28"/>
                  </a:moveTo>
                  <a:cubicBezTo>
                    <a:pt x="46" y="27"/>
                    <a:pt x="47" y="25"/>
                    <a:pt x="47" y="23"/>
                  </a:cubicBezTo>
                  <a:cubicBezTo>
                    <a:pt x="47" y="17"/>
                    <a:pt x="43" y="12"/>
                    <a:pt x="35" y="12"/>
                  </a:cubicBezTo>
                  <a:cubicBezTo>
                    <a:pt x="25" y="12"/>
                    <a:pt x="18" y="18"/>
                    <a:pt x="15" y="28"/>
                  </a:cubicBezTo>
                  <a:lnTo>
                    <a:pt x="46" y="28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4" name="Freeform 29">
              <a:extLst>
                <a:ext uri="{FF2B5EF4-FFF2-40B4-BE49-F238E27FC236}">
                  <a16:creationId xmlns:a16="http://schemas.microsoft.com/office/drawing/2014/main" id="{1FB60EF9-A2BE-4992-8E1A-76A63D43FD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7" y="339"/>
              <a:ext cx="87" cy="105"/>
            </a:xfrm>
            <a:custGeom>
              <a:avLst/>
              <a:gdLst>
                <a:gd name="T0" fmla="*/ 17 w 71"/>
                <a:gd name="T1" fmla="*/ 74 h 86"/>
                <a:gd name="T2" fmla="*/ 14 w 71"/>
                <a:gd name="T3" fmla="*/ 84 h 86"/>
                <a:gd name="T4" fmla="*/ 0 w 71"/>
                <a:gd name="T5" fmla="*/ 84 h 86"/>
                <a:gd name="T6" fmla="*/ 23 w 71"/>
                <a:gd name="T7" fmla="*/ 0 h 86"/>
                <a:gd name="T8" fmla="*/ 37 w 71"/>
                <a:gd name="T9" fmla="*/ 0 h 86"/>
                <a:gd name="T10" fmla="*/ 28 w 71"/>
                <a:gd name="T11" fmla="*/ 32 h 86"/>
                <a:gd name="T12" fmla="*/ 48 w 71"/>
                <a:gd name="T13" fmla="*/ 22 h 86"/>
                <a:gd name="T14" fmla="*/ 71 w 71"/>
                <a:gd name="T15" fmla="*/ 48 h 86"/>
                <a:gd name="T16" fmla="*/ 38 w 71"/>
                <a:gd name="T17" fmla="*/ 86 h 86"/>
                <a:gd name="T18" fmla="*/ 17 w 71"/>
                <a:gd name="T19" fmla="*/ 74 h 86"/>
                <a:gd name="T20" fmla="*/ 57 w 71"/>
                <a:gd name="T21" fmla="*/ 49 h 86"/>
                <a:gd name="T22" fmla="*/ 43 w 71"/>
                <a:gd name="T23" fmla="*/ 34 h 86"/>
                <a:gd name="T24" fmla="*/ 21 w 71"/>
                <a:gd name="T25" fmla="*/ 58 h 86"/>
                <a:gd name="T26" fmla="*/ 36 w 71"/>
                <a:gd name="T27" fmla="*/ 74 h 86"/>
                <a:gd name="T28" fmla="*/ 57 w 71"/>
                <a:gd name="T29" fmla="*/ 49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86">
                  <a:moveTo>
                    <a:pt x="17" y="74"/>
                  </a:moveTo>
                  <a:cubicBezTo>
                    <a:pt x="14" y="84"/>
                    <a:pt x="14" y="84"/>
                    <a:pt x="14" y="84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34" y="26"/>
                    <a:pt x="40" y="22"/>
                    <a:pt x="48" y="22"/>
                  </a:cubicBezTo>
                  <a:cubicBezTo>
                    <a:pt x="61" y="22"/>
                    <a:pt x="71" y="32"/>
                    <a:pt x="71" y="48"/>
                  </a:cubicBezTo>
                  <a:cubicBezTo>
                    <a:pt x="71" y="70"/>
                    <a:pt x="55" y="86"/>
                    <a:pt x="38" y="86"/>
                  </a:cubicBezTo>
                  <a:cubicBezTo>
                    <a:pt x="27" y="86"/>
                    <a:pt x="21" y="80"/>
                    <a:pt x="17" y="74"/>
                  </a:cubicBezTo>
                  <a:moveTo>
                    <a:pt x="57" y="49"/>
                  </a:moveTo>
                  <a:cubicBezTo>
                    <a:pt x="57" y="40"/>
                    <a:pt x="51" y="34"/>
                    <a:pt x="43" y="34"/>
                  </a:cubicBezTo>
                  <a:cubicBezTo>
                    <a:pt x="31" y="34"/>
                    <a:pt x="21" y="46"/>
                    <a:pt x="21" y="58"/>
                  </a:cubicBezTo>
                  <a:cubicBezTo>
                    <a:pt x="21" y="67"/>
                    <a:pt x="27" y="74"/>
                    <a:pt x="36" y="74"/>
                  </a:cubicBezTo>
                  <a:cubicBezTo>
                    <a:pt x="47" y="74"/>
                    <a:pt x="57" y="63"/>
                    <a:pt x="57" y="49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5" name="Freeform 30">
              <a:extLst>
                <a:ext uri="{FF2B5EF4-FFF2-40B4-BE49-F238E27FC236}">
                  <a16:creationId xmlns:a16="http://schemas.microsoft.com/office/drawing/2014/main" id="{348CFC9C-1CA1-4164-A598-E7938401D8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62" y="340"/>
              <a:ext cx="45" cy="101"/>
            </a:xfrm>
            <a:custGeom>
              <a:avLst/>
              <a:gdLst>
                <a:gd name="T0" fmla="*/ 20 w 45"/>
                <a:gd name="T1" fmla="*/ 28 h 101"/>
                <a:gd name="T2" fmla="*/ 37 w 45"/>
                <a:gd name="T3" fmla="*/ 28 h 101"/>
                <a:gd name="T4" fmla="*/ 17 w 45"/>
                <a:gd name="T5" fmla="*/ 101 h 101"/>
                <a:gd name="T6" fmla="*/ 0 w 45"/>
                <a:gd name="T7" fmla="*/ 101 h 101"/>
                <a:gd name="T8" fmla="*/ 20 w 45"/>
                <a:gd name="T9" fmla="*/ 28 h 101"/>
                <a:gd name="T10" fmla="*/ 27 w 45"/>
                <a:gd name="T11" fmla="*/ 0 h 101"/>
                <a:gd name="T12" fmla="*/ 45 w 45"/>
                <a:gd name="T13" fmla="*/ 0 h 101"/>
                <a:gd name="T14" fmla="*/ 41 w 45"/>
                <a:gd name="T15" fmla="*/ 16 h 101"/>
                <a:gd name="T16" fmla="*/ 22 w 45"/>
                <a:gd name="T17" fmla="*/ 16 h 101"/>
                <a:gd name="T18" fmla="*/ 27 w 45"/>
                <a:gd name="T1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101">
                  <a:moveTo>
                    <a:pt x="20" y="28"/>
                  </a:moveTo>
                  <a:lnTo>
                    <a:pt x="37" y="28"/>
                  </a:lnTo>
                  <a:lnTo>
                    <a:pt x="17" y="101"/>
                  </a:lnTo>
                  <a:lnTo>
                    <a:pt x="0" y="101"/>
                  </a:lnTo>
                  <a:lnTo>
                    <a:pt x="20" y="28"/>
                  </a:lnTo>
                  <a:close/>
                  <a:moveTo>
                    <a:pt x="27" y="0"/>
                  </a:moveTo>
                  <a:lnTo>
                    <a:pt x="45" y="0"/>
                  </a:lnTo>
                  <a:lnTo>
                    <a:pt x="41" y="16"/>
                  </a:lnTo>
                  <a:lnTo>
                    <a:pt x="22" y="16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6" name="Freeform 31">
              <a:extLst>
                <a:ext uri="{FF2B5EF4-FFF2-40B4-BE49-F238E27FC236}">
                  <a16:creationId xmlns:a16="http://schemas.microsoft.com/office/drawing/2014/main" id="{961B54A5-1A3C-4F4C-88A7-6009C1D64A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07" y="366"/>
              <a:ext cx="74" cy="78"/>
            </a:xfrm>
            <a:custGeom>
              <a:avLst/>
              <a:gdLst>
                <a:gd name="T0" fmla="*/ 29 w 60"/>
                <a:gd name="T1" fmla="*/ 52 h 64"/>
                <a:gd name="T2" fmla="*/ 44 w 60"/>
                <a:gd name="T3" fmla="*/ 47 h 64"/>
                <a:gd name="T4" fmla="*/ 51 w 60"/>
                <a:gd name="T5" fmla="*/ 55 h 64"/>
                <a:gd name="T6" fmla="*/ 27 w 60"/>
                <a:gd name="T7" fmla="*/ 64 h 64"/>
                <a:gd name="T8" fmla="*/ 0 w 60"/>
                <a:gd name="T9" fmla="*/ 37 h 64"/>
                <a:gd name="T10" fmla="*/ 35 w 60"/>
                <a:gd name="T11" fmla="*/ 0 h 64"/>
                <a:gd name="T12" fmla="*/ 60 w 60"/>
                <a:gd name="T13" fmla="*/ 24 h 64"/>
                <a:gd name="T14" fmla="*/ 57 w 60"/>
                <a:gd name="T15" fmla="*/ 37 h 64"/>
                <a:gd name="T16" fmla="*/ 13 w 60"/>
                <a:gd name="T17" fmla="*/ 37 h 64"/>
                <a:gd name="T18" fmla="*/ 29 w 60"/>
                <a:gd name="T19" fmla="*/ 52 h 64"/>
                <a:gd name="T20" fmla="*/ 46 w 60"/>
                <a:gd name="T21" fmla="*/ 28 h 64"/>
                <a:gd name="T22" fmla="*/ 46 w 60"/>
                <a:gd name="T23" fmla="*/ 23 h 64"/>
                <a:gd name="T24" fmla="*/ 34 w 60"/>
                <a:gd name="T25" fmla="*/ 12 h 64"/>
                <a:gd name="T26" fmla="*/ 14 w 60"/>
                <a:gd name="T27" fmla="*/ 28 h 64"/>
                <a:gd name="T28" fmla="*/ 46 w 60"/>
                <a:gd name="T29" fmla="*/ 2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0" h="64">
                  <a:moveTo>
                    <a:pt x="29" y="52"/>
                  </a:moveTo>
                  <a:cubicBezTo>
                    <a:pt x="34" y="52"/>
                    <a:pt x="39" y="50"/>
                    <a:pt x="44" y="47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45" y="60"/>
                    <a:pt x="38" y="64"/>
                    <a:pt x="27" y="64"/>
                  </a:cubicBezTo>
                  <a:cubicBezTo>
                    <a:pt x="10" y="64"/>
                    <a:pt x="0" y="54"/>
                    <a:pt x="0" y="37"/>
                  </a:cubicBezTo>
                  <a:cubicBezTo>
                    <a:pt x="0" y="19"/>
                    <a:pt x="14" y="0"/>
                    <a:pt x="35" y="0"/>
                  </a:cubicBezTo>
                  <a:cubicBezTo>
                    <a:pt x="51" y="0"/>
                    <a:pt x="60" y="11"/>
                    <a:pt x="60" y="24"/>
                  </a:cubicBezTo>
                  <a:cubicBezTo>
                    <a:pt x="60" y="28"/>
                    <a:pt x="59" y="33"/>
                    <a:pt x="57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46"/>
                    <a:pt x="18" y="52"/>
                    <a:pt x="29" y="52"/>
                  </a:cubicBezTo>
                  <a:moveTo>
                    <a:pt x="46" y="28"/>
                  </a:moveTo>
                  <a:cubicBezTo>
                    <a:pt x="46" y="27"/>
                    <a:pt x="46" y="25"/>
                    <a:pt x="46" y="23"/>
                  </a:cubicBezTo>
                  <a:cubicBezTo>
                    <a:pt x="46" y="17"/>
                    <a:pt x="43" y="12"/>
                    <a:pt x="34" y="12"/>
                  </a:cubicBezTo>
                  <a:cubicBezTo>
                    <a:pt x="25" y="12"/>
                    <a:pt x="17" y="18"/>
                    <a:pt x="14" y="28"/>
                  </a:cubicBezTo>
                  <a:lnTo>
                    <a:pt x="46" y="28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cxnSp>
          <p:nvCxnSpPr>
            <p:cNvPr id="48" name="Line 32">
              <a:extLst>
                <a:ext uri="{FF2B5EF4-FFF2-40B4-BE49-F238E27FC236}">
                  <a16:creationId xmlns:a16="http://schemas.microsoft.com/office/drawing/2014/main" id="{25D722FD-DFB7-4513-A7C0-13FD68A40B06}"/>
                </a:ext>
              </a:extLst>
            </p:cNvPr>
            <p:cNvCxnSpPr/>
            <p:nvPr/>
          </p:nvCxnSpPr>
          <p:spPr bwMode="auto">
            <a:xfrm flipH="1">
              <a:off x="1322" y="1"/>
              <a:ext cx="3" cy="443"/>
            </a:xfrm>
            <a:prstGeom prst="line">
              <a:avLst/>
            </a:prstGeom>
            <a:noFill/>
            <a:ln w="14288" cap="flat">
              <a:solidFill>
                <a:srgbClr val="53555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" name="Tytuł 35">
            <a:extLst>
              <a:ext uri="{FF2B5EF4-FFF2-40B4-BE49-F238E27FC236}">
                <a16:creationId xmlns:a16="http://schemas.microsoft.com/office/drawing/2014/main" id="{AC6BC548-4FFB-0035-402D-F27400FE7334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Zasady na budowie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ymbol zastępczy zawartości 33">
            <a:extLst>
              <a:ext uri="{FF2B5EF4-FFF2-40B4-BE49-F238E27FC236}">
                <a16:creationId xmlns:a16="http://schemas.microsoft.com/office/drawing/2014/main" id="{51C879A3-02D2-4609-AD7E-64B746A01749}"/>
              </a:ext>
            </a:extLst>
          </p:cNvPr>
          <p:cNvSpPr txBox="1">
            <a:spLocks/>
          </p:cNvSpPr>
          <p:nvPr/>
        </p:nvSpPr>
        <p:spPr>
          <a:xfrm>
            <a:off x="266700" y="2035656"/>
            <a:ext cx="5697320" cy="3955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l-PL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W przypadku ogłoszenia alarmu </a:t>
            </a:r>
            <a:r>
              <a:rPr kumimoji="0" lang="pl-PL" sz="160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n </a:t>
            </a:r>
            <a:r>
              <a:rPr kumimoji="0" lang="pl-PL" sz="1600" u="none" strike="noStrike" kern="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case</a:t>
            </a:r>
            <a:r>
              <a:rPr kumimoji="0" lang="pl-PL" sz="160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of </a:t>
            </a:r>
            <a:r>
              <a:rPr kumimoji="0" lang="pl-PL" sz="1600" u="none" strike="noStrike" kern="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he</a:t>
            </a:r>
            <a:r>
              <a:rPr kumimoji="0" lang="pl-PL" sz="160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alarm</a:t>
            </a:r>
            <a:r>
              <a:rPr kumimoji="0" lang="pl-PL" sz="16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Gotham Book" pitchFamily="50" charset="0"/>
                <a:cs typeface="Gotham Book" pitchFamily="50" charset="0"/>
                <a:sym typeface="Arial"/>
              </a:rPr>
              <a:t>:</a:t>
            </a:r>
          </a:p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l-PL" sz="16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Gotham Book" pitchFamily="50" charset="0"/>
              <a:cs typeface="Gotham Book" pitchFamily="50" charset="0"/>
              <a:sym typeface="Arial"/>
            </a:endParaRPr>
          </a:p>
        </p:txBody>
      </p:sp>
      <p:sp>
        <p:nvSpPr>
          <p:cNvPr id="48" name="Tytuł 4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l-PL" sz="2200" dirty="0">
                <a:latin typeface="Arial" panose="020B0604020202020204" pitchFamily="34" charset="0"/>
                <a:cs typeface="Arial" panose="020B0604020202020204" pitchFamily="34" charset="0"/>
              </a:rPr>
              <a:t>Ewakuacja</a:t>
            </a:r>
            <a:b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cuation</a:t>
            </a:r>
          </a:p>
        </p:txBody>
      </p:sp>
      <p:grpSp>
        <p:nvGrpSpPr>
          <p:cNvPr id="15" name="Grupa 14">
            <a:extLst>
              <a:ext uri="{FF2B5EF4-FFF2-40B4-BE49-F238E27FC236}">
                <a16:creationId xmlns:a16="http://schemas.microsoft.com/office/drawing/2014/main" id="{18696C88-FAF3-4882-8C8B-3BEB60073EB4}"/>
              </a:ext>
            </a:extLst>
          </p:cNvPr>
          <p:cNvGrpSpPr/>
          <p:nvPr/>
        </p:nvGrpSpPr>
        <p:grpSpPr>
          <a:xfrm>
            <a:off x="259645" y="2093214"/>
            <a:ext cx="11672710" cy="3092778"/>
            <a:chOff x="259645" y="2093214"/>
            <a:chExt cx="11672710" cy="3092778"/>
          </a:xfrm>
        </p:grpSpPr>
        <p:pic>
          <p:nvPicPr>
            <p:cNvPr id="7" name="Obraz 6" descr="punkt.png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224388" y="2093214"/>
              <a:ext cx="1707967" cy="2552463"/>
            </a:xfrm>
            <a:prstGeom prst="rect">
              <a:avLst/>
            </a:prstGeom>
          </p:spPr>
        </p:pic>
        <p:sp>
          <p:nvSpPr>
            <p:cNvPr id="14" name="Symbol zastępczy zawartości 33">
              <a:extLst>
                <a:ext uri="{FF2B5EF4-FFF2-40B4-BE49-F238E27FC236}">
                  <a16:creationId xmlns:a16="http://schemas.microsoft.com/office/drawing/2014/main" id="{A21A3011-F920-4792-A48C-744E9E50BE63}"/>
                </a:ext>
              </a:extLst>
            </p:cNvPr>
            <p:cNvSpPr txBox="1">
              <a:spLocks/>
            </p:cNvSpPr>
            <p:nvPr/>
          </p:nvSpPr>
          <p:spPr>
            <a:xfrm>
              <a:off x="259645" y="4130333"/>
              <a:ext cx="5697320" cy="1055659"/>
            </a:xfrm>
            <a:prstGeom prst="rect">
              <a:avLst/>
            </a:prstGeom>
          </p:spPr>
          <p:txBody>
            <a:bodyPr>
              <a:noAutofit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>
                  <a:srgbClr val="535459"/>
                </a:buClr>
                <a:buSzTx/>
                <a:tabLst/>
                <a:defRPr/>
              </a:pPr>
              <a:endParaRPr kumimoji="0" lang="pl-PL" sz="16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>
                  <a:srgbClr val="535459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pl-PL" sz="160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Alarm ogłaszany jest za pomocą </a:t>
              </a:r>
              <a:r>
                <a:rPr kumimoji="0" lang="pl-PL" sz="16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megafonu</a:t>
              </a:r>
              <a:r>
                <a:rPr kumimoji="0" lang="pl-PL" sz="1600" i="0" u="none" strike="noStrike" kern="0" cap="none" spc="0" normalizeH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br>
                <a:rPr kumimoji="0" lang="pl-PL" sz="1600" i="0" u="none" strike="noStrike" kern="0" cap="none" spc="0" normalizeH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</a:br>
              <a:r>
                <a:rPr kumimoji="0" lang="pl-PL" sz="1600" i="0" u="none" strike="noStrike" kern="0" cap="none" spc="0" normalizeH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 </a:t>
              </a:r>
              <a:r>
                <a:rPr kumimoji="0" lang="pl-PL" sz="1600" u="none" strike="noStrike" kern="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The</a:t>
              </a:r>
              <a:r>
                <a:rPr kumimoji="0" lang="pl-PL" sz="1600" u="none" strike="noStrike" kern="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alarm </a:t>
              </a:r>
              <a:r>
                <a:rPr kumimoji="0" lang="pl-PL" sz="1600" u="none" strike="noStrike" kern="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is</a:t>
              </a:r>
              <a:r>
                <a:rPr kumimoji="0" lang="pl-PL" sz="1600" u="none" strike="noStrike" kern="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kumimoji="0" lang="pl-PL" sz="1600" u="none" strike="noStrike" kern="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announced</a:t>
              </a:r>
              <a:r>
                <a:rPr kumimoji="0" lang="pl-PL" sz="1600" u="none" strike="noStrike" kern="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by </a:t>
              </a:r>
              <a:r>
                <a:rPr kumimoji="0" lang="pl-PL" sz="1600" u="none" strike="noStrike" kern="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the</a:t>
              </a:r>
              <a:r>
                <a:rPr kumimoji="0" lang="pl-PL" sz="1600" u="none" strike="noStrike" kern="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kumimoji="0" lang="pl-PL" sz="1600" u="none" strike="noStrike" kern="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megaphone</a:t>
              </a:r>
              <a:endParaRPr kumimoji="0" lang="pl-PL" sz="160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</p:grpSp>
      <p:grpSp>
        <p:nvGrpSpPr>
          <p:cNvPr id="4" name="Grupa 3">
            <a:extLst>
              <a:ext uri="{FF2B5EF4-FFF2-40B4-BE49-F238E27FC236}">
                <a16:creationId xmlns:a16="http://schemas.microsoft.com/office/drawing/2014/main" id="{5F9EA396-09C1-4069-A252-87E1E8778315}"/>
              </a:ext>
            </a:extLst>
          </p:cNvPr>
          <p:cNvGrpSpPr/>
          <p:nvPr/>
        </p:nvGrpSpPr>
        <p:grpSpPr>
          <a:xfrm>
            <a:off x="266700" y="2045815"/>
            <a:ext cx="7611495" cy="2552464"/>
            <a:chOff x="266700" y="2045815"/>
            <a:chExt cx="7611495" cy="2552464"/>
          </a:xfrm>
        </p:grpSpPr>
        <p:pic>
          <p:nvPicPr>
            <p:cNvPr id="6" name="Obraz 5" descr="punkt.png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170228" y="2045815"/>
              <a:ext cx="1707967" cy="2552464"/>
            </a:xfrm>
            <a:prstGeom prst="rect">
              <a:avLst/>
            </a:prstGeom>
          </p:spPr>
        </p:pic>
        <p:sp>
          <p:nvSpPr>
            <p:cNvPr id="2" name="Prostokąt 1">
              <a:extLst>
                <a:ext uri="{FF2B5EF4-FFF2-40B4-BE49-F238E27FC236}">
                  <a16:creationId xmlns:a16="http://schemas.microsoft.com/office/drawing/2014/main" id="{F2ACA7D5-933A-43A4-94CD-A9C5BE64017A}"/>
                </a:ext>
              </a:extLst>
            </p:cNvPr>
            <p:cNvSpPr/>
            <p:nvPr/>
          </p:nvSpPr>
          <p:spPr>
            <a:xfrm>
              <a:off x="266700" y="2621664"/>
              <a:ext cx="6096000" cy="58477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lvl="0">
                <a:buClr>
                  <a:srgbClr val="535459"/>
                </a:buClr>
                <a:buFont typeface="Wingdings" pitchFamily="2" charset="2"/>
                <a:buChar char="§"/>
                <a:defRPr/>
              </a:pPr>
              <a:r>
                <a:rPr lang="pl-PL" sz="1600" kern="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Proszę udaj się do wyznaczonego </a:t>
              </a:r>
              <a:r>
                <a:rPr lang="pl-PL" sz="1600" b="1" kern="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Punktu zbiórki</a:t>
              </a:r>
              <a:br>
                <a:rPr lang="pl-PL" sz="1600" b="1" kern="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</a:br>
              <a:r>
                <a:rPr lang="pl-PL" sz="1600" b="1" kern="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 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Go to the </a:t>
              </a:r>
              <a:r>
                <a:rPr lang="pl-PL" sz="1600" kern="0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assembly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point</a:t>
              </a:r>
            </a:p>
          </p:txBody>
        </p:sp>
      </p:grpSp>
      <p:grpSp>
        <p:nvGrpSpPr>
          <p:cNvPr id="5" name="Grupa 4">
            <a:extLst>
              <a:ext uri="{FF2B5EF4-FFF2-40B4-BE49-F238E27FC236}">
                <a16:creationId xmlns:a16="http://schemas.microsoft.com/office/drawing/2014/main" id="{105BE84E-D5B4-435D-BF6F-59DEBE630410}"/>
              </a:ext>
            </a:extLst>
          </p:cNvPr>
          <p:cNvGrpSpPr/>
          <p:nvPr/>
        </p:nvGrpSpPr>
        <p:grpSpPr>
          <a:xfrm>
            <a:off x="266700" y="2035655"/>
            <a:ext cx="9603486" cy="2552464"/>
            <a:chOff x="266700" y="2035655"/>
            <a:chExt cx="9603486" cy="2552464"/>
          </a:xfrm>
        </p:grpSpPr>
        <p:pic>
          <p:nvPicPr>
            <p:cNvPr id="45" name="Obraz 44" descr="punkt.png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158168" y="2035655"/>
              <a:ext cx="1712018" cy="2552464"/>
            </a:xfrm>
            <a:prstGeom prst="rect">
              <a:avLst/>
            </a:prstGeom>
          </p:spPr>
        </p:pic>
        <p:sp>
          <p:nvSpPr>
            <p:cNvPr id="3" name="Prostokąt 2">
              <a:extLst>
                <a:ext uri="{FF2B5EF4-FFF2-40B4-BE49-F238E27FC236}">
                  <a16:creationId xmlns:a16="http://schemas.microsoft.com/office/drawing/2014/main" id="{6DBBFC0F-DC16-4F07-BEDE-2B45AC83FCA0}"/>
                </a:ext>
              </a:extLst>
            </p:cNvPr>
            <p:cNvSpPr/>
            <p:nvPr/>
          </p:nvSpPr>
          <p:spPr>
            <a:xfrm>
              <a:off x="266700" y="3206439"/>
              <a:ext cx="6096000" cy="861774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lvl="0">
                <a:buClr>
                  <a:srgbClr val="535459"/>
                </a:buClr>
                <a:buFont typeface="Wingdings" pitchFamily="2" charset="2"/>
                <a:buChar char="§"/>
                <a:defRPr/>
              </a:pPr>
              <a:endParaRPr lang="pl-PL" kern="0" dirty="0">
                <a:latin typeface="Gotham Light" pitchFamily="50" charset="0"/>
                <a:cs typeface="Gotham Light" pitchFamily="50" charset="0"/>
                <a:sym typeface="Arial"/>
              </a:endParaRPr>
            </a:p>
            <a:p>
              <a:pPr lvl="0">
                <a:buClr>
                  <a:srgbClr val="535459"/>
                </a:buClr>
                <a:buFont typeface="Wingdings" pitchFamily="2" charset="2"/>
                <a:buChar char="§"/>
                <a:defRPr/>
              </a:pPr>
              <a:r>
                <a:rPr lang="pl-PL" sz="1600" kern="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Pozostań tam do momentu wyłączenia alarmu </a:t>
              </a:r>
              <a:br>
                <a:rPr lang="pl-PL" sz="1600" kern="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</a:br>
              <a:r>
                <a:rPr lang="pl-PL" sz="1600" kern="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 </a:t>
              </a:r>
              <a:r>
                <a:rPr lang="pl-PL" sz="1600" kern="0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Stay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lang="pl-PL" sz="1600" kern="0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there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lang="pl-PL" sz="1600" kern="0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till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the alarm </a:t>
              </a:r>
              <a:r>
                <a:rPr lang="pl-PL" sz="1600" kern="0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is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lang="pl-PL" sz="1600" kern="0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called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off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3644379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700" y="1789843"/>
            <a:ext cx="7341798" cy="31358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594" marR="0" lvl="0" indent="-228594" defTabSz="914377" rtl="0" eaLnBrk="1" fontAlgn="auto" latinLnBrk="0" hangingPunct="1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Na budowie obowiązują ograniczenia prędkości – 20 km/h ogólnie, </a:t>
            </a:r>
            <a:b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</a:b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10 km/h w miejscach gdzie w pobliżu prowadzone są prace;</a:t>
            </a:r>
          </a:p>
          <a:p>
            <a:pPr marL="228594" marR="0" lvl="0" indent="-228594" defTabSz="914377" rtl="0" eaLnBrk="1" fontAlgn="auto" latinLnBrk="0" hangingPunct="1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Nie wolno zawracać oraz operować sprzętem ciężkim, żurawiami mobilnymi bez asysty przeszkolonego kierującego ruchem;</a:t>
            </a:r>
            <a:endParaRPr kumimoji="0" lang="en-US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marR="0" lvl="0" indent="-228594" defTabSz="914377" rtl="0" eaLnBrk="1" fontAlgn="auto" latinLnBrk="0" hangingPunct="1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Osoba</a:t>
            </a:r>
            <a:r>
              <a:rPr kumimoji="0" lang="en-US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kumimoji="0" lang="en-US" alt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kieruj</a:t>
            </a:r>
            <a:r>
              <a:rPr kumimoji="0" lang="pl-PL" alt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ąca</a:t>
            </a: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ruchem musi posiadać pomarańczową odzież roboczą oraz kask;</a:t>
            </a:r>
          </a:p>
          <a:p>
            <a:pPr marL="228594" marR="0" lvl="0" indent="-228594" defTabSz="914377" rtl="0" eaLnBrk="1" fontAlgn="auto" latinLnBrk="0" hangingPunct="1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Używanie telefonów komórkowych dozwolone jest jedynie </a:t>
            </a:r>
            <a:b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</a:b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w bezpiecznych strefach;</a:t>
            </a:r>
          </a:p>
          <a:p>
            <a:pPr marL="228594" marR="0" lvl="0" indent="-228594" defTabSz="914377" rtl="0" eaLnBrk="1" fontAlgn="auto" latinLnBrk="0" hangingPunct="1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Stanowiska pracy muszą być utrzymane w czystości, nie wolno </a:t>
            </a:r>
            <a:b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</a:b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ch niczym zastawiać;</a:t>
            </a:r>
            <a:r>
              <a:rPr kumimoji="0" lang="en-GB" altLang="en-US" b="1" i="0" u="none" strike="noStrike" kern="1200" cap="none" spc="0" normalizeH="0" baseline="0" noProof="0" dirty="0">
                <a:ln>
                  <a:noFill/>
                </a:ln>
                <a:solidFill>
                  <a:srgbClr val="E71515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	</a:t>
            </a:r>
            <a:endParaRPr kumimoji="0" lang="en-GB" altLang="en-US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Obraz 7" descr="Bez nazwy-1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8682" y="686273"/>
            <a:ext cx="1692914" cy="5485453"/>
          </a:xfrm>
          <a:prstGeom prst="rect">
            <a:avLst/>
          </a:prstGeom>
        </p:spPr>
      </p:pic>
      <p:sp>
        <p:nvSpPr>
          <p:cNvPr id="4" name="Tytuł 35">
            <a:extLst>
              <a:ext uri="{FF2B5EF4-FFF2-40B4-BE49-F238E27FC236}">
                <a16:creationId xmlns:a16="http://schemas.microsoft.com/office/drawing/2014/main" id="{7899D73A-0756-382A-FE69-DB7226E01FD6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Zasady na budowie</a:t>
            </a:r>
          </a:p>
        </p:txBody>
      </p:sp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4">
            <a:extLst>
              <a:ext uri="{FF2B5EF4-FFF2-40B4-BE49-F238E27FC236}">
                <a16:creationId xmlns:a16="http://schemas.microsoft.com/office/drawing/2014/main" id="{F235C5FA-76F0-4940-874F-D8BCE57D87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6701" y="2272850"/>
            <a:ext cx="6789730" cy="2169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87325" indent="-187325">
              <a:spcBef>
                <a:spcPct val="20000"/>
              </a:spcBef>
              <a:buClr>
                <a:srgbClr val="FFFFBA"/>
              </a:buClr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FFFBA"/>
              </a:buClr>
              <a:buChar char="•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buClrTx/>
            </a:pPr>
            <a:r>
              <a:rPr lang="pl-PL" altLang="en-US" sz="1800" dirty="0">
                <a:solidFill>
                  <a:srgbClr val="000000"/>
                </a:solidFill>
              </a:rPr>
              <a:t>Jedynie wykwalifikowani elektrycy mają upoważnienie </a:t>
            </a:r>
            <a:br>
              <a:rPr lang="pl-PL" altLang="en-US" sz="1800" dirty="0">
                <a:solidFill>
                  <a:srgbClr val="000000"/>
                </a:solidFill>
              </a:rPr>
            </a:br>
            <a:r>
              <a:rPr lang="pl-PL" altLang="en-US" sz="1800" dirty="0">
                <a:solidFill>
                  <a:srgbClr val="000000"/>
                </a:solidFill>
              </a:rPr>
              <a:t>do podejmowania napraw, zmian, ingerencji w instalacje elektryczne;</a:t>
            </a:r>
          </a:p>
          <a:p>
            <a:pPr>
              <a:spcBef>
                <a:spcPct val="50000"/>
              </a:spcBef>
              <a:buClrTx/>
            </a:pPr>
            <a:r>
              <a:rPr lang="pl-PL" altLang="en-US" sz="1800" dirty="0">
                <a:solidFill>
                  <a:srgbClr val="000000"/>
                </a:solidFill>
              </a:rPr>
              <a:t>Sprzęt elektryczny wykorzystywany na budowie powinien zostać skontrolowany oraz stosowanie oznakowany;</a:t>
            </a:r>
          </a:p>
          <a:p>
            <a:pPr>
              <a:lnSpc>
                <a:spcPct val="150000"/>
              </a:lnSpc>
              <a:spcBef>
                <a:spcPct val="50000"/>
              </a:spcBef>
              <a:buClrTx/>
            </a:pPr>
            <a:r>
              <a:rPr lang="pl-PL" altLang="en-US" sz="1800" dirty="0">
                <a:solidFill>
                  <a:srgbClr val="000000"/>
                </a:solidFill>
              </a:rPr>
              <a:t>Sprzęt należy skontrolować przed wykonaniem pracy.</a:t>
            </a:r>
          </a:p>
        </p:txBody>
      </p:sp>
      <p:pic>
        <p:nvPicPr>
          <p:cNvPr id="10" name="Picture 6" descr="Znalezione obrazy dla zapytania safety rules">
            <a:extLst>
              <a:ext uri="{FF2B5EF4-FFF2-40B4-BE49-F238E27FC236}">
                <a16:creationId xmlns:a16="http://schemas.microsoft.com/office/drawing/2014/main" id="{141583E8-82E9-484E-81BE-765D4D74B1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65207" y="1664898"/>
            <a:ext cx="5096196" cy="38215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ytuł 35">
            <a:extLst>
              <a:ext uri="{FF2B5EF4-FFF2-40B4-BE49-F238E27FC236}">
                <a16:creationId xmlns:a16="http://schemas.microsoft.com/office/drawing/2014/main" id="{B7762459-C294-01A6-987D-20958380FA15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Zasady na budowie</a:t>
            </a:r>
          </a:p>
        </p:txBody>
      </p: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pole tekstowe 46"/>
          <p:cNvSpPr txBox="1"/>
          <p:nvPr/>
        </p:nvSpPr>
        <p:spPr>
          <a:xfrm>
            <a:off x="266700" y="1659790"/>
            <a:ext cx="7126137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altLang="en-US" sz="17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 </a:t>
            </a:r>
            <a:r>
              <a:rPr lang="pl-PL" altLang="en-US" sz="17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rchicom</a:t>
            </a:r>
            <a:r>
              <a:rPr lang="pl-PL" altLang="en-US" sz="17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S.A. obowiązuje polityka antyalkoholowa </a:t>
            </a:r>
            <a:br>
              <a:rPr lang="pl-PL" altLang="en-US" sz="17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altLang="en-US" sz="17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 antynarkotykowa,</a:t>
            </a:r>
            <a:r>
              <a:rPr lang="en-GB" altLang="en-US" sz="17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altLang="en-US" sz="17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która obowiązuje wszystkich pracowników firmy, </a:t>
            </a:r>
            <a:br>
              <a:rPr lang="pl-PL" altLang="en-US" sz="17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altLang="en-US" sz="17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irm podwykonawczych oraz każdego innego wykonujące prace oraz wizytującego projekty </a:t>
            </a:r>
            <a:r>
              <a:rPr lang="pl-PL" altLang="en-US" sz="17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rchicom</a:t>
            </a:r>
            <a:r>
              <a:rPr lang="pl-PL" altLang="en-US" sz="17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 </a:t>
            </a:r>
            <a:endParaRPr lang="en-GB" altLang="en-US" sz="17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3" name="Obraz 52" descr="Bez nazwy-1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0738" y="0"/>
            <a:ext cx="4681262" cy="6858000"/>
          </a:xfrm>
          <a:prstGeom prst="rect">
            <a:avLst/>
          </a:prstGeom>
        </p:spPr>
      </p:pic>
      <p:sp>
        <p:nvSpPr>
          <p:cNvPr id="54" name="Text Box 4">
            <a:extLst>
              <a:ext uri="{FF2B5EF4-FFF2-40B4-BE49-F238E27FC236}">
                <a16:creationId xmlns:a16="http://schemas.microsoft.com/office/drawing/2014/main" id="{F235C5FA-76F0-4940-874F-D8BCE57D87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6700" y="2909015"/>
            <a:ext cx="6746575" cy="368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87325" indent="-187325">
              <a:spcBef>
                <a:spcPct val="20000"/>
              </a:spcBef>
              <a:buClr>
                <a:srgbClr val="FFFFBA"/>
              </a:buClr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FFFBA"/>
              </a:buClr>
              <a:buChar char="•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buClrTx/>
              <a:buNone/>
            </a:pPr>
            <a:r>
              <a:rPr lang="pl-PL" altLang="en-US" sz="1600" dirty="0">
                <a:solidFill>
                  <a:srgbClr val="000000"/>
                </a:solidFill>
                <a:cs typeface="Arial" pitchFamily="34" charset="0"/>
              </a:rPr>
              <a:t>Testy mogą zostać wykonane:</a:t>
            </a:r>
            <a:endParaRPr lang="pl-PL" altLang="en-US" sz="1600" dirty="0">
              <a:solidFill>
                <a:srgbClr val="000000"/>
              </a:solidFill>
            </a:endParaRPr>
          </a:p>
          <a:p>
            <a:pPr>
              <a:spcBef>
                <a:spcPct val="50000"/>
              </a:spcBef>
              <a:buClrTx/>
            </a:pPr>
            <a:r>
              <a:rPr lang="pl-PL" altLang="en-US" sz="1600" dirty="0">
                <a:solidFill>
                  <a:srgbClr val="000000"/>
                </a:solidFill>
              </a:rPr>
              <a:t>Dla nowych pracowników tuż przed lub po rozpoczęciu zatrudnienia,</a:t>
            </a:r>
          </a:p>
          <a:p>
            <a:pPr>
              <a:lnSpc>
                <a:spcPct val="150000"/>
              </a:lnSpc>
              <a:spcBef>
                <a:spcPct val="50000"/>
              </a:spcBef>
              <a:buClrTx/>
            </a:pPr>
            <a:r>
              <a:rPr lang="pl-PL" altLang="en-US" sz="1600" dirty="0">
                <a:solidFill>
                  <a:srgbClr val="000000"/>
                </a:solidFill>
              </a:rPr>
              <a:t>Losowo / </a:t>
            </a:r>
            <a:r>
              <a:rPr lang="pl-PL" altLang="en-US" sz="1600" dirty="0" err="1">
                <a:solidFill>
                  <a:srgbClr val="000000"/>
                </a:solidFill>
              </a:rPr>
              <a:t>niezapowiedzianie</a:t>
            </a:r>
            <a:r>
              <a:rPr lang="pl-PL" altLang="en-US" sz="1600" dirty="0">
                <a:solidFill>
                  <a:srgbClr val="000000"/>
                </a:solidFill>
              </a:rPr>
              <a:t>,</a:t>
            </a:r>
          </a:p>
          <a:p>
            <a:pPr>
              <a:spcBef>
                <a:spcPct val="50000"/>
              </a:spcBef>
              <a:buClrTx/>
            </a:pPr>
            <a:r>
              <a:rPr lang="pl-PL" altLang="en-US" sz="1600" dirty="0">
                <a:solidFill>
                  <a:srgbClr val="000000"/>
                </a:solidFill>
              </a:rPr>
              <a:t>W następstwie poważnego wypadku / incydentu;</a:t>
            </a:r>
          </a:p>
          <a:p>
            <a:pPr>
              <a:spcBef>
                <a:spcPct val="50000"/>
              </a:spcBef>
              <a:buClrTx/>
            </a:pPr>
            <a:r>
              <a:rPr lang="pl-PL" altLang="en-US" sz="1600" dirty="0">
                <a:solidFill>
                  <a:srgbClr val="000000"/>
                </a:solidFill>
              </a:rPr>
              <a:t>Losowa / niezapowiedziana kontrola oraz „wynikająca z jakiegoś powodu” mogą zostać przeprowadzone wobec każdej osoby przebywającej na obiektach Echo.</a:t>
            </a:r>
          </a:p>
          <a:p>
            <a:pPr>
              <a:buClr>
                <a:schemeClr val="folHlink"/>
              </a:buClr>
              <a:buNone/>
            </a:pPr>
            <a:endParaRPr lang="pl-PL" altLang="en-US" sz="1600" dirty="0">
              <a:solidFill>
                <a:srgbClr val="000000"/>
              </a:solidFill>
              <a:cs typeface="Arial" pitchFamily="34" charset="0"/>
            </a:endParaRPr>
          </a:p>
          <a:p>
            <a:pPr>
              <a:buClr>
                <a:schemeClr val="folHlink"/>
              </a:buClr>
              <a:buNone/>
            </a:pPr>
            <a:r>
              <a:rPr lang="pl-PL" altLang="en-US" sz="1600" u="sng" dirty="0">
                <a:solidFill>
                  <a:schemeClr val="tx1"/>
                </a:solidFill>
                <a:uFill>
                  <a:solidFill>
                    <a:srgbClr val="FF0000"/>
                  </a:solidFill>
                </a:uFill>
                <a:cs typeface="Arial" pitchFamily="34" charset="0"/>
              </a:rPr>
              <a:t>Limit alkoholu </a:t>
            </a:r>
            <a:r>
              <a:rPr lang="en-GB" altLang="en-US" sz="1600" u="sng" dirty="0">
                <a:solidFill>
                  <a:schemeClr val="tx1"/>
                </a:solidFill>
                <a:uFill>
                  <a:solidFill>
                    <a:srgbClr val="FF0000"/>
                  </a:solidFill>
                </a:uFill>
                <a:cs typeface="Arial" pitchFamily="34" charset="0"/>
              </a:rPr>
              <a:t>– 0mg </a:t>
            </a:r>
            <a:r>
              <a:rPr lang="pl-PL" altLang="en-US" sz="1600" u="sng" dirty="0">
                <a:solidFill>
                  <a:schemeClr val="tx1"/>
                </a:solidFill>
                <a:uFill>
                  <a:solidFill>
                    <a:srgbClr val="FF0000"/>
                  </a:solidFill>
                </a:uFill>
                <a:cs typeface="Arial" pitchFamily="34" charset="0"/>
              </a:rPr>
              <a:t>na</a:t>
            </a:r>
            <a:r>
              <a:rPr lang="en-GB" altLang="en-US" sz="1600" u="sng" dirty="0">
                <a:solidFill>
                  <a:schemeClr val="tx1"/>
                </a:solidFill>
                <a:uFill>
                  <a:solidFill>
                    <a:srgbClr val="FF0000"/>
                  </a:solidFill>
                </a:uFill>
                <a:cs typeface="Arial" pitchFamily="34" charset="0"/>
              </a:rPr>
              <a:t> 100 </a:t>
            </a:r>
            <a:r>
              <a:rPr lang="pl-PL" altLang="en-US" sz="1600" u="sng" dirty="0">
                <a:solidFill>
                  <a:schemeClr val="tx1"/>
                </a:solidFill>
                <a:uFill>
                  <a:solidFill>
                    <a:srgbClr val="FF0000"/>
                  </a:solidFill>
                </a:uFill>
                <a:cs typeface="Arial" pitchFamily="34" charset="0"/>
              </a:rPr>
              <a:t>mililitrów</a:t>
            </a:r>
            <a:r>
              <a:rPr lang="en-GB" altLang="en-US" sz="1600" u="sng" dirty="0">
                <a:solidFill>
                  <a:schemeClr val="tx1"/>
                </a:solidFill>
                <a:uFill>
                  <a:solidFill>
                    <a:srgbClr val="FF0000"/>
                  </a:solidFill>
                </a:uFill>
                <a:cs typeface="Arial" pitchFamily="34" charset="0"/>
              </a:rPr>
              <a:t> </a:t>
            </a:r>
            <a:r>
              <a:rPr lang="pl-PL" altLang="en-US" sz="1600" u="sng" dirty="0">
                <a:solidFill>
                  <a:schemeClr val="tx1"/>
                </a:solidFill>
                <a:uFill>
                  <a:solidFill>
                    <a:srgbClr val="FF0000"/>
                  </a:solidFill>
                </a:uFill>
                <a:cs typeface="Arial" pitchFamily="34" charset="0"/>
              </a:rPr>
              <a:t>krwi</a:t>
            </a:r>
            <a:r>
              <a:rPr lang="en-GB" altLang="en-US" sz="1600" u="sng" dirty="0">
                <a:solidFill>
                  <a:schemeClr val="tx1"/>
                </a:solidFill>
                <a:uFill>
                  <a:solidFill>
                    <a:srgbClr val="FF0000"/>
                  </a:solidFill>
                </a:uFill>
                <a:cs typeface="Arial" pitchFamily="34" charset="0"/>
              </a:rPr>
              <a:t>.</a:t>
            </a:r>
            <a:r>
              <a:rPr lang="pl-PL" altLang="en-US" sz="1600" u="sng" dirty="0">
                <a:solidFill>
                  <a:schemeClr val="tx1"/>
                </a:solidFill>
                <a:uFill>
                  <a:solidFill>
                    <a:srgbClr val="FF0000"/>
                  </a:solidFill>
                </a:uFill>
                <a:cs typeface="Arial" pitchFamily="34" charset="0"/>
              </a:rPr>
              <a:t> Narkotyki – zero tolerancji. </a:t>
            </a:r>
          </a:p>
          <a:p>
            <a:pPr>
              <a:buClr>
                <a:schemeClr val="folHlink"/>
              </a:buClr>
              <a:buFontTx/>
              <a:buNone/>
            </a:pPr>
            <a:r>
              <a:rPr lang="pl-PL" altLang="en-US" sz="1600" dirty="0">
                <a:solidFill>
                  <a:schemeClr val="tx1"/>
                </a:solidFill>
                <a:cs typeface="Arial" pitchFamily="34" charset="0"/>
              </a:rPr>
              <a:t>Dopuszczalne jest stosowanie lekarstw przepisanych przez lekarza.</a:t>
            </a:r>
            <a:r>
              <a:rPr lang="en-GB" altLang="en-US" sz="1600" dirty="0">
                <a:solidFill>
                  <a:schemeClr val="tx1"/>
                </a:solidFill>
                <a:cs typeface="Arial" pitchFamily="34" charset="0"/>
              </a:rPr>
              <a:t> </a:t>
            </a:r>
          </a:p>
          <a:p>
            <a:pPr>
              <a:spcBef>
                <a:spcPct val="50000"/>
              </a:spcBef>
              <a:buClrTx/>
              <a:buNone/>
            </a:pPr>
            <a:endParaRPr lang="pl-PL" altLang="en-US" sz="1600" dirty="0">
              <a:solidFill>
                <a:srgbClr val="000000"/>
              </a:solidFill>
            </a:endParaRPr>
          </a:p>
        </p:txBody>
      </p:sp>
      <p:sp>
        <p:nvSpPr>
          <p:cNvPr id="55" name="Symbol zastępczy zawartości 33">
            <a:extLst>
              <a:ext uri="{FF2B5EF4-FFF2-40B4-BE49-F238E27FC236}">
                <a16:creationId xmlns:a16="http://schemas.microsoft.com/office/drawing/2014/main" id="{CBBCC2DC-2621-432D-996C-C130D183622C}"/>
              </a:ext>
            </a:extLst>
          </p:cNvPr>
          <p:cNvSpPr txBox="1">
            <a:spLocks/>
          </p:cNvSpPr>
          <p:nvPr/>
        </p:nvSpPr>
        <p:spPr>
          <a:xfrm>
            <a:off x="8884100" y="1811548"/>
            <a:ext cx="2555640" cy="322627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ctr">
              <a:lnSpc>
                <a:spcPts val="2400"/>
              </a:lnSpc>
              <a:spcBef>
                <a:spcPct val="50000"/>
              </a:spcBef>
              <a:buClrTx/>
              <a:buFontTx/>
              <a:buNone/>
            </a:pPr>
            <a:r>
              <a:rPr lang="pl-PL" altLang="en-US" sz="16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CHODZĄC NA TEREN ARCHICOM</a:t>
            </a:r>
          </a:p>
          <a:p>
            <a:pPr algn="ctr">
              <a:lnSpc>
                <a:spcPts val="2400"/>
              </a:lnSpc>
              <a:spcBef>
                <a:spcPct val="50000"/>
              </a:spcBef>
              <a:buClrTx/>
              <a:buFontTx/>
              <a:buNone/>
            </a:pPr>
            <a:r>
              <a:rPr lang="pl-PL" altLang="en-US" sz="16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KCEPTUJESZ POLITYKĘ ANTYALKOHOLOWĄ </a:t>
            </a:r>
            <a:br>
              <a:rPr lang="pl-PL" altLang="en-US" sz="16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altLang="en-US" sz="16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 ANTYNARKOTYKOWĄ</a:t>
            </a:r>
          </a:p>
        </p:txBody>
      </p:sp>
      <p:sp>
        <p:nvSpPr>
          <p:cNvPr id="4" name="Tytuł 35">
            <a:extLst>
              <a:ext uri="{FF2B5EF4-FFF2-40B4-BE49-F238E27FC236}">
                <a16:creationId xmlns:a16="http://schemas.microsoft.com/office/drawing/2014/main" id="{B8D9A9F7-D3F4-7285-6349-B6F61DABDEC9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Zasady na budowie</a:t>
            </a:r>
          </a:p>
        </p:txBody>
      </p:sp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Obraz 47" descr="Obraz zawierający budynek, zewnętrzne, płot, podłoże&#10;&#10;Opis wygenerowany przy bardzo wysokim poziomie pewności">
            <a:extLst>
              <a:ext uri="{FF2B5EF4-FFF2-40B4-BE49-F238E27FC236}">
                <a16:creationId xmlns:a16="http://schemas.microsoft.com/office/drawing/2014/main" id="{8351AFEC-26DD-4019-B0B9-445270FBECF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33520" y="1600200"/>
            <a:ext cx="2627883" cy="3926071"/>
          </a:xfrm>
          <a:prstGeom prst="rect">
            <a:avLst/>
          </a:prstGeom>
          <a:effectLst/>
        </p:spPr>
      </p:pic>
      <p:pic>
        <p:nvPicPr>
          <p:cNvPr id="43" name="Obraz 42" descr="Obraz zawierający płot, metal, siedzi, ławka&#10;&#10;Opis wygenerowany automatycznie">
            <a:extLst>
              <a:ext uri="{FF2B5EF4-FFF2-40B4-BE49-F238E27FC236}">
                <a16:creationId xmlns:a16="http://schemas.microsoft.com/office/drawing/2014/main" id="{F6EE2E7D-2DE7-4770-8AAF-A94936580D1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2037"/>
          <a:stretch/>
        </p:blipFill>
        <p:spPr>
          <a:xfrm rot="5400000">
            <a:off x="6010381" y="2670777"/>
            <a:ext cx="3933645" cy="1792491"/>
          </a:xfrm>
          <a:prstGeom prst="rect">
            <a:avLst/>
          </a:prstGeom>
        </p:spPr>
      </p:pic>
      <p:sp>
        <p:nvSpPr>
          <p:cNvPr id="46" name="Text Box 4">
            <a:extLst>
              <a:ext uri="{FF2B5EF4-FFF2-40B4-BE49-F238E27FC236}">
                <a16:creationId xmlns:a16="http://schemas.microsoft.com/office/drawing/2014/main" id="{F235C5FA-76F0-4940-874F-D8BCE57D87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6701" y="1951077"/>
            <a:ext cx="6570034" cy="390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87325" indent="-187325">
              <a:spcBef>
                <a:spcPct val="20000"/>
              </a:spcBef>
              <a:buClr>
                <a:srgbClr val="FFFFBA"/>
              </a:buClr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FFFBA"/>
              </a:buClr>
              <a:buChar char="•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buClrTx/>
            </a:pPr>
            <a:r>
              <a:rPr lang="pl-PL" altLang="en-US" sz="1600" dirty="0">
                <a:solidFill>
                  <a:srgbClr val="000000"/>
                </a:solidFill>
              </a:rPr>
              <a:t>Każda osoba ma obowiązek przejść szkolenie wprowadzające przed wejściem na budowę oraz po nieobecności dłuższej niż </a:t>
            </a:r>
            <a:br>
              <a:rPr lang="pl-PL" altLang="en-US" sz="1600" dirty="0">
                <a:solidFill>
                  <a:srgbClr val="000000"/>
                </a:solidFill>
              </a:rPr>
            </a:br>
            <a:r>
              <a:rPr lang="pl-PL" altLang="en-US" sz="1600" dirty="0">
                <a:solidFill>
                  <a:srgbClr val="000000"/>
                </a:solidFill>
              </a:rPr>
              <a:t>30 dni;</a:t>
            </a:r>
          </a:p>
          <a:p>
            <a:pPr>
              <a:spcBef>
                <a:spcPct val="50000"/>
              </a:spcBef>
              <a:buClrTx/>
            </a:pPr>
            <a:r>
              <a:rPr lang="pl-PL" altLang="en-US" sz="1600" dirty="0">
                <a:solidFill>
                  <a:srgbClr val="000000"/>
                </a:solidFill>
              </a:rPr>
              <a:t>Wszyscy goście powinni zgłosić chęć wejścia na obiekt </a:t>
            </a:r>
            <a:br>
              <a:rPr lang="pl-PL" altLang="en-US" sz="1600" dirty="0">
                <a:solidFill>
                  <a:srgbClr val="000000"/>
                </a:solidFill>
              </a:rPr>
            </a:br>
            <a:r>
              <a:rPr lang="pl-PL" altLang="en-US" sz="1600" dirty="0">
                <a:solidFill>
                  <a:srgbClr val="000000"/>
                </a:solidFill>
              </a:rPr>
              <a:t>na stanowisku ochrony;</a:t>
            </a:r>
          </a:p>
          <a:p>
            <a:pPr>
              <a:lnSpc>
                <a:spcPct val="150000"/>
              </a:lnSpc>
              <a:spcBef>
                <a:spcPct val="50000"/>
              </a:spcBef>
              <a:buClrTx/>
            </a:pPr>
            <a:r>
              <a:rPr lang="pl-PL" altLang="en-US" sz="1600" dirty="0">
                <a:solidFill>
                  <a:srgbClr val="000000"/>
                </a:solidFill>
              </a:rPr>
              <a:t>Na budowie obowiązuje 24 godzinny system ochrony;</a:t>
            </a:r>
          </a:p>
          <a:p>
            <a:pPr>
              <a:spcBef>
                <a:spcPct val="50000"/>
              </a:spcBef>
              <a:buClrTx/>
            </a:pPr>
            <a:r>
              <a:rPr lang="pl-PL" altLang="en-US" sz="1600" dirty="0">
                <a:solidFill>
                  <a:srgbClr val="000000"/>
                </a:solidFill>
              </a:rPr>
              <a:t>Wszystkie dostawy muszą zostać zgłoszone z wyprzedzeniem </a:t>
            </a:r>
            <a:br>
              <a:rPr lang="pl-PL" altLang="en-US" sz="1600" dirty="0">
                <a:solidFill>
                  <a:srgbClr val="000000"/>
                </a:solidFill>
              </a:rPr>
            </a:br>
            <a:r>
              <a:rPr lang="pl-PL" altLang="en-US" sz="1600" dirty="0">
                <a:solidFill>
                  <a:srgbClr val="000000"/>
                </a:solidFill>
              </a:rPr>
              <a:t>na stanowisku ochrony;</a:t>
            </a:r>
          </a:p>
          <a:p>
            <a:pPr>
              <a:spcBef>
                <a:spcPct val="50000"/>
              </a:spcBef>
              <a:buClrTx/>
            </a:pPr>
            <a:r>
              <a:rPr lang="pl-PL" altLang="en-US" sz="1600" dirty="0">
                <a:solidFill>
                  <a:srgbClr val="000000"/>
                </a:solidFill>
              </a:rPr>
              <a:t>Samochody prywatne mogą parkować w wyznaczonych miejscach (parkingi), nie wolno zastawiać stanowisk pracy </a:t>
            </a:r>
            <a:br>
              <a:rPr lang="pl-PL" altLang="en-US" sz="1600" dirty="0">
                <a:solidFill>
                  <a:srgbClr val="000000"/>
                </a:solidFill>
              </a:rPr>
            </a:br>
            <a:r>
              <a:rPr lang="pl-PL" altLang="en-US" sz="1600" dirty="0">
                <a:solidFill>
                  <a:srgbClr val="000000"/>
                </a:solidFill>
              </a:rPr>
              <a:t>ani parkować nielegalnie na okolicznych drogach/ulicach. </a:t>
            </a:r>
            <a:br>
              <a:rPr lang="pl-PL" altLang="en-US" sz="1600" dirty="0">
                <a:solidFill>
                  <a:srgbClr val="000000"/>
                </a:solidFill>
              </a:rPr>
            </a:br>
            <a:r>
              <a:rPr lang="pl-PL" altLang="en-US" sz="1600" dirty="0">
                <a:solidFill>
                  <a:srgbClr val="000000"/>
                </a:solidFill>
              </a:rPr>
              <a:t>Nie stosowanie się do zasad może skutkować podjęciem działań dyscyplinujących.</a:t>
            </a:r>
          </a:p>
        </p:txBody>
      </p:sp>
      <p:sp>
        <p:nvSpPr>
          <p:cNvPr id="4" name="Tytuł 35">
            <a:extLst>
              <a:ext uri="{FF2B5EF4-FFF2-40B4-BE49-F238E27FC236}">
                <a16:creationId xmlns:a16="http://schemas.microsoft.com/office/drawing/2014/main" id="{867902C7-86A3-6823-0F2E-83FAA319EC05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Zasady na budowie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Wejście na budowę</a:t>
            </a:r>
          </a:p>
        </p:txBody>
      </p:sp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stokąt 1">
            <a:extLst>
              <a:ext uri="{FF2B5EF4-FFF2-40B4-BE49-F238E27FC236}">
                <a16:creationId xmlns:a16="http://schemas.microsoft.com/office/drawing/2014/main" id="{D32FD927-0D75-B8EE-750B-AFC9CEE549FF}"/>
              </a:ext>
            </a:extLst>
          </p:cNvPr>
          <p:cNvSpPr/>
          <p:nvPr/>
        </p:nvSpPr>
        <p:spPr>
          <a:xfrm>
            <a:off x="-1" y="774700"/>
            <a:ext cx="12192000" cy="5524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pic>
        <p:nvPicPr>
          <p:cNvPr id="38" name="Symbol zastępczy obrazu 37" descr="Obraz15.jpg"/>
          <p:cNvPicPr>
            <a:picLocks noGrp="1" noChangeAspect="1"/>
          </p:cNvPicPr>
          <p:nvPr>
            <p:ph type="pic" idx="1"/>
          </p:nvPr>
        </p:nvPicPr>
        <p:blipFill rotWithShape="1">
          <a:blip r:embed="rId3"/>
          <a:srcRect l="29706" b="-299"/>
          <a:stretch/>
        </p:blipFill>
        <p:spPr>
          <a:xfrm>
            <a:off x="9238058" y="0"/>
            <a:ext cx="2953941" cy="6299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1" name="Symbol zastępczy zawartości 33">
            <a:extLst>
              <a:ext uri="{FF2B5EF4-FFF2-40B4-BE49-F238E27FC236}">
                <a16:creationId xmlns:a16="http://schemas.microsoft.com/office/drawing/2014/main" id="{F9B95D2E-0081-400F-A1F3-ACBEF073904C}"/>
              </a:ext>
            </a:extLst>
          </p:cNvPr>
          <p:cNvSpPr txBox="1">
            <a:spLocks/>
          </p:cNvSpPr>
          <p:nvPr/>
        </p:nvSpPr>
        <p:spPr>
          <a:xfrm>
            <a:off x="1371510" y="1607436"/>
            <a:ext cx="5389508" cy="1111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None/>
            </a:pPr>
            <a:r>
              <a:rPr lang="pl-PL" sz="3200" dirty="0">
                <a:latin typeface="Gotham Book" pitchFamily="50" charset="0"/>
                <a:cs typeface="Gotham Book" pitchFamily="50" charset="0"/>
              </a:rPr>
              <a:t>Dziękuję za uwagę! </a:t>
            </a:r>
            <a:br>
              <a:rPr lang="pl-PL" sz="2400" dirty="0">
                <a:latin typeface="Gotham Book" pitchFamily="50" charset="0"/>
                <a:cs typeface="Gotham Book" pitchFamily="50" charset="0"/>
              </a:rPr>
            </a:br>
            <a:endParaRPr lang="pl-PL" sz="2400" dirty="0">
              <a:latin typeface="Gotham Book" pitchFamily="50" charset="0"/>
              <a:cs typeface="Gotham Book" pitchFamily="50" charset="0"/>
            </a:endParaRPr>
          </a:p>
        </p:txBody>
      </p:sp>
      <p:sp>
        <p:nvSpPr>
          <p:cNvPr id="6" name="Symbol zastępczy zawartości 33">
            <a:extLst>
              <a:ext uri="{FF2B5EF4-FFF2-40B4-BE49-F238E27FC236}">
                <a16:creationId xmlns:a16="http://schemas.microsoft.com/office/drawing/2014/main" id="{274F0CA6-3726-4496-97EC-315164686118}"/>
              </a:ext>
            </a:extLst>
          </p:cNvPr>
          <p:cNvSpPr txBox="1">
            <a:spLocks/>
          </p:cNvSpPr>
          <p:nvPr/>
        </p:nvSpPr>
        <p:spPr>
          <a:xfrm>
            <a:off x="1371510" y="3085643"/>
            <a:ext cx="5389508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None/>
            </a:pPr>
            <a:r>
              <a:rPr lang="pl-PL" sz="2400" dirty="0">
                <a:latin typeface="Gotham Book" pitchFamily="50" charset="0"/>
                <a:cs typeface="Gotham Book" pitchFamily="50" charset="0"/>
              </a:rPr>
              <a:t>Czy masz jakieś pytania?</a:t>
            </a:r>
          </a:p>
        </p:txBody>
      </p:sp>
      <p:sp>
        <p:nvSpPr>
          <p:cNvPr id="7" name="Symbol zastępczy zawartości 33">
            <a:extLst>
              <a:ext uri="{FF2B5EF4-FFF2-40B4-BE49-F238E27FC236}">
                <a16:creationId xmlns:a16="http://schemas.microsoft.com/office/drawing/2014/main" id="{71BD9C04-B04A-4484-9BBE-2FCF6E1CDC11}"/>
              </a:ext>
            </a:extLst>
          </p:cNvPr>
          <p:cNvSpPr txBox="1">
            <a:spLocks/>
          </p:cNvSpPr>
          <p:nvPr/>
        </p:nvSpPr>
        <p:spPr>
          <a:xfrm>
            <a:off x="1371510" y="3846555"/>
            <a:ext cx="5389508" cy="14904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None/>
            </a:pPr>
            <a:r>
              <a:rPr lang="pl-PL" sz="2400" dirty="0">
                <a:latin typeface="Gotham Book" pitchFamily="50" charset="0"/>
                <a:cs typeface="Gotham Book" pitchFamily="50" charset="0"/>
              </a:rPr>
              <a:t>Prozę podpisz listę obecności.</a:t>
            </a:r>
          </a:p>
        </p:txBody>
      </p:sp>
    </p:spTree>
    <p:extLst>
      <p:ext uri="{BB962C8B-B14F-4D97-AF65-F5344CB8AC3E}">
        <p14:creationId xmlns:p14="http://schemas.microsoft.com/office/powerpoint/2010/main" val="193492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266E9586-98FE-B743-0417-31168F6CCF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58503" y="-486888"/>
            <a:ext cx="10233497" cy="67928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Tytuł 37"/>
          <p:cNvSpPr>
            <a:spLocks noGrp="1"/>
          </p:cNvSpPr>
          <p:nvPr>
            <p:ph type="title"/>
          </p:nvPr>
        </p:nvSpPr>
        <p:spPr>
          <a:xfrm>
            <a:off x="266700" y="770297"/>
            <a:ext cx="4384813" cy="736964"/>
          </a:xfrm>
          <a:solidFill>
            <a:schemeClr val="bg1">
              <a:alpha val="66000"/>
            </a:schemeClr>
          </a:solidFill>
        </p:spPr>
        <p:txBody>
          <a:bodyPr/>
          <a:lstStyle/>
          <a:p>
            <a:pPr lvl="0"/>
            <a:r>
              <a:rPr lang="pl-PL" sz="2200" dirty="0">
                <a:latin typeface="Arial" panose="020B0604020202020204" pitchFamily="34" charset="0"/>
                <a:cs typeface="Arial" panose="020B0604020202020204" pitchFamily="34" charset="0"/>
              </a:rPr>
              <a:t>Plan zagospodarowania budowy</a:t>
            </a:r>
            <a:b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e layout</a:t>
            </a:r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DA4FAA9D-0E2C-4467-329F-0129CF4695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55602" y="1463969"/>
            <a:ext cx="1100137" cy="1598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Łącznik prosty ze strzałką 5">
            <a:extLst>
              <a:ext uri="{FF2B5EF4-FFF2-40B4-BE49-F238E27FC236}">
                <a16:creationId xmlns:a16="http://schemas.microsoft.com/office/drawing/2014/main" id="{A38BBC92-00DF-A50F-8F88-FE35217FD8E6}"/>
              </a:ext>
            </a:extLst>
          </p:cNvPr>
          <p:cNvCxnSpPr>
            <a:cxnSpLocks/>
          </p:cNvCxnSpPr>
          <p:nvPr/>
        </p:nvCxnSpPr>
        <p:spPr>
          <a:xfrm>
            <a:off x="2572918" y="2773548"/>
            <a:ext cx="1399210" cy="1885496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Łącznik prosty ze strzałką 6">
            <a:extLst>
              <a:ext uri="{FF2B5EF4-FFF2-40B4-BE49-F238E27FC236}">
                <a16:creationId xmlns:a16="http://schemas.microsoft.com/office/drawing/2014/main" id="{D1B67A9B-4B1A-4002-71DC-3DA4E01BEF8E}"/>
              </a:ext>
            </a:extLst>
          </p:cNvPr>
          <p:cNvCxnSpPr>
            <a:cxnSpLocks/>
          </p:cNvCxnSpPr>
          <p:nvPr/>
        </p:nvCxnSpPr>
        <p:spPr>
          <a:xfrm flipH="1" flipV="1">
            <a:off x="4540263" y="4750130"/>
            <a:ext cx="988292" cy="63731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896E6091-6CA8-4182-0DF5-CF301353B0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9861" y="4760779"/>
            <a:ext cx="867566" cy="1231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Łącznik prosty ze strzałką 8">
            <a:extLst>
              <a:ext uri="{FF2B5EF4-FFF2-40B4-BE49-F238E27FC236}">
                <a16:creationId xmlns:a16="http://schemas.microsoft.com/office/drawing/2014/main" id="{C3020995-1BA8-8526-3147-D0C0646BEDBF}"/>
              </a:ext>
            </a:extLst>
          </p:cNvPr>
          <p:cNvCxnSpPr>
            <a:cxnSpLocks/>
          </p:cNvCxnSpPr>
          <p:nvPr/>
        </p:nvCxnSpPr>
        <p:spPr>
          <a:xfrm flipH="1" flipV="1">
            <a:off x="9125331" y="3207659"/>
            <a:ext cx="9237" cy="1533235"/>
          </a:xfrm>
          <a:prstGeom prst="straightConnector1">
            <a:avLst/>
          </a:prstGeom>
          <a:ln w="571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6">
            <a:extLst>
              <a:ext uri="{FF2B5EF4-FFF2-40B4-BE49-F238E27FC236}">
                <a16:creationId xmlns:a16="http://schemas.microsoft.com/office/drawing/2014/main" id="{82B71438-BAD1-4DDA-65D2-676EB7C1C3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440457" y="4036325"/>
            <a:ext cx="1033462" cy="1018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Łącznik prosty ze strzałką 10">
            <a:extLst>
              <a:ext uri="{FF2B5EF4-FFF2-40B4-BE49-F238E27FC236}">
                <a16:creationId xmlns:a16="http://schemas.microsoft.com/office/drawing/2014/main" id="{4980300F-8B3A-47C1-9B2E-C1E7B16A3924}"/>
              </a:ext>
            </a:extLst>
          </p:cNvPr>
          <p:cNvCxnSpPr>
            <a:cxnSpLocks/>
          </p:cNvCxnSpPr>
          <p:nvPr/>
        </p:nvCxnSpPr>
        <p:spPr>
          <a:xfrm flipH="1" flipV="1">
            <a:off x="9731099" y="3133767"/>
            <a:ext cx="774651" cy="90790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4">
            <a:extLst>
              <a:ext uri="{FF2B5EF4-FFF2-40B4-BE49-F238E27FC236}">
                <a16:creationId xmlns:a16="http://schemas.microsoft.com/office/drawing/2014/main" id="{82D7316C-7345-51EC-0639-B764C7EA04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299954" y="4181950"/>
            <a:ext cx="792018" cy="117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Łącznik prosty ze strzałką 13">
            <a:extLst>
              <a:ext uri="{FF2B5EF4-FFF2-40B4-BE49-F238E27FC236}">
                <a16:creationId xmlns:a16="http://schemas.microsoft.com/office/drawing/2014/main" id="{3E1EEE52-4FE7-91B9-D5B4-54289A472655}"/>
              </a:ext>
            </a:extLst>
          </p:cNvPr>
          <p:cNvCxnSpPr>
            <a:cxnSpLocks/>
          </p:cNvCxnSpPr>
          <p:nvPr/>
        </p:nvCxnSpPr>
        <p:spPr>
          <a:xfrm flipH="1" flipV="1">
            <a:off x="4679386" y="4646221"/>
            <a:ext cx="638176" cy="28575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Łącznik prosty ze strzałką 14">
            <a:extLst>
              <a:ext uri="{FF2B5EF4-FFF2-40B4-BE49-F238E27FC236}">
                <a16:creationId xmlns:a16="http://schemas.microsoft.com/office/drawing/2014/main" id="{D5A2FA13-0A6C-234E-E1A1-9A7112D755DE}"/>
              </a:ext>
            </a:extLst>
          </p:cNvPr>
          <p:cNvCxnSpPr>
            <a:cxnSpLocks/>
          </p:cNvCxnSpPr>
          <p:nvPr/>
        </p:nvCxnSpPr>
        <p:spPr>
          <a:xfrm flipH="1">
            <a:off x="9804990" y="3025429"/>
            <a:ext cx="1678118" cy="62156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4">
            <a:extLst>
              <a:ext uri="{FF2B5EF4-FFF2-40B4-BE49-F238E27FC236}">
                <a16:creationId xmlns:a16="http://schemas.microsoft.com/office/drawing/2014/main" id="{CC770A05-05A0-0081-5C76-4AD15604AA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1088893" y="2468182"/>
            <a:ext cx="811826" cy="12000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8" name="Łącznik prosty ze strzałką 17">
            <a:extLst>
              <a:ext uri="{FF2B5EF4-FFF2-40B4-BE49-F238E27FC236}">
                <a16:creationId xmlns:a16="http://schemas.microsoft.com/office/drawing/2014/main" id="{55DCDABA-3776-F43E-A541-C8CA53F7C457}"/>
              </a:ext>
            </a:extLst>
          </p:cNvPr>
          <p:cNvCxnSpPr>
            <a:cxnSpLocks/>
            <a:stCxn id="2" idx="1"/>
          </p:cNvCxnSpPr>
          <p:nvPr/>
        </p:nvCxnSpPr>
        <p:spPr>
          <a:xfrm flipH="1" flipV="1">
            <a:off x="4257895" y="5658586"/>
            <a:ext cx="1438068" cy="44796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6">
            <a:extLst>
              <a:ext uri="{FF2B5EF4-FFF2-40B4-BE49-F238E27FC236}">
                <a16:creationId xmlns:a16="http://schemas.microsoft.com/office/drawing/2014/main" id="{AD2A8BCD-5056-70D6-3BEC-9377D2F418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929169" y="1684064"/>
            <a:ext cx="590585" cy="582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6">
            <a:extLst>
              <a:ext uri="{FF2B5EF4-FFF2-40B4-BE49-F238E27FC236}">
                <a16:creationId xmlns:a16="http://schemas.microsoft.com/office/drawing/2014/main" id="{9189272F-B8CD-DB9D-62FB-7A82C56899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238977" y="2442751"/>
            <a:ext cx="369090" cy="363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6">
            <a:extLst>
              <a:ext uri="{FF2B5EF4-FFF2-40B4-BE49-F238E27FC236}">
                <a16:creationId xmlns:a16="http://schemas.microsoft.com/office/drawing/2014/main" id="{D83C05AF-18A9-3A05-1243-2DBD9C352E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545934" y="1869595"/>
            <a:ext cx="369090" cy="363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6">
            <a:extLst>
              <a:ext uri="{FF2B5EF4-FFF2-40B4-BE49-F238E27FC236}">
                <a16:creationId xmlns:a16="http://schemas.microsoft.com/office/drawing/2014/main" id="{22F4B81B-78C5-1E5C-AAF0-59ECDD90F9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652490" y="1942481"/>
            <a:ext cx="369090" cy="363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6">
            <a:extLst>
              <a:ext uri="{FF2B5EF4-FFF2-40B4-BE49-F238E27FC236}">
                <a16:creationId xmlns:a16="http://schemas.microsoft.com/office/drawing/2014/main" id="{8FD851F8-D9CB-2B1C-1FB9-1FCE94F007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948508" y="2194273"/>
            <a:ext cx="369090" cy="363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pole tekstowe 1">
            <a:extLst>
              <a:ext uri="{FF2B5EF4-FFF2-40B4-BE49-F238E27FC236}">
                <a16:creationId xmlns:a16="http://schemas.microsoft.com/office/drawing/2014/main" id="{1758F368-DAC9-6DCE-FB16-E24D0EC64554}"/>
              </a:ext>
            </a:extLst>
          </p:cNvPr>
          <p:cNvSpPr txBox="1"/>
          <p:nvPr/>
        </p:nvSpPr>
        <p:spPr>
          <a:xfrm>
            <a:off x="5695963" y="5891102"/>
            <a:ext cx="35733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2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Jesteś tutaj </a:t>
            </a:r>
            <a:r>
              <a:rPr lang="pl-PL" sz="22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You</a:t>
            </a:r>
            <a:r>
              <a:rPr lang="pl-PL" sz="22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are </a:t>
            </a:r>
            <a:r>
              <a:rPr lang="pl-PL" sz="22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here</a:t>
            </a:r>
            <a:endParaRPr lang="pl-PL" sz="22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3" name="Owal 12">
            <a:extLst>
              <a:ext uri="{FF2B5EF4-FFF2-40B4-BE49-F238E27FC236}">
                <a16:creationId xmlns:a16="http://schemas.microsoft.com/office/drawing/2014/main" id="{9238DE87-DDD4-BF5C-CED4-2EC574FB9A69}"/>
              </a:ext>
            </a:extLst>
          </p:cNvPr>
          <p:cNvSpPr/>
          <p:nvPr/>
        </p:nvSpPr>
        <p:spPr>
          <a:xfrm>
            <a:off x="3850410" y="5387441"/>
            <a:ext cx="407485" cy="419594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grpSp>
        <p:nvGrpSpPr>
          <p:cNvPr id="48" name="Grupa 47"/>
          <p:cNvGrpSpPr/>
          <p:nvPr/>
        </p:nvGrpSpPr>
        <p:grpSpPr>
          <a:xfrm>
            <a:off x="9115883" y="-468695"/>
            <a:ext cx="2966830" cy="2823871"/>
            <a:chOff x="3280756" y="4309278"/>
            <a:chExt cx="2185855" cy="2118866"/>
          </a:xfrm>
        </p:grpSpPr>
        <p:pic>
          <p:nvPicPr>
            <p:cNvPr id="46" name="Obraz 45" descr="Zasób 6.png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359136" y="4309278"/>
              <a:ext cx="2107475" cy="2118866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47" name="Symbol zastępczy zawartości 33">
              <a:extLst>
                <a:ext uri="{FF2B5EF4-FFF2-40B4-BE49-F238E27FC236}">
                  <a16:creationId xmlns:a16="http://schemas.microsoft.com/office/drawing/2014/main" id="{CBBCC2DC-2621-432D-996C-C130D183622C}"/>
                </a:ext>
              </a:extLst>
            </p:cNvPr>
            <p:cNvSpPr txBox="1">
              <a:spLocks/>
            </p:cNvSpPr>
            <p:nvPr/>
          </p:nvSpPr>
          <p:spPr>
            <a:xfrm>
              <a:off x="3280756" y="4812775"/>
              <a:ext cx="2159724" cy="1277016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/>
            <a:p>
              <a:pPr marL="228594" marR="0" lvl="0" indent="-228594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tabLst/>
                <a:defRPr/>
              </a:pPr>
              <a:r>
                <a:rPr kumimoji="0" lang="pl-PL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Gotham Book" pitchFamily="50" charset="0"/>
                  <a:cs typeface="Gotham Book" pitchFamily="50" charset="0"/>
                </a:rPr>
                <a:t>Wstaw</a:t>
              </a: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 plan zagospodarowania</a:t>
              </a:r>
              <a:br>
                <a:rPr lang="pl-PL" sz="1400" dirty="0">
                  <a:latin typeface="Gotham Book" pitchFamily="50" charset="0"/>
                  <a:cs typeface="Gotham Book" pitchFamily="50" charset="0"/>
                </a:rPr>
              </a:b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Twojej budowy </a:t>
              </a:r>
              <a:br>
                <a:rPr lang="pl-PL" sz="1400" dirty="0">
                  <a:latin typeface="Gotham Book" pitchFamily="50" charset="0"/>
                  <a:cs typeface="Gotham Book" pitchFamily="50" charset="0"/>
                </a:rPr>
              </a:b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plik graficzny (</a:t>
              </a:r>
              <a:r>
                <a:rPr lang="pl-PL" sz="1400" u="sng" dirty="0">
                  <a:latin typeface="Gotham Book" pitchFamily="50" charset="0"/>
                  <a:cs typeface="Gotham Book" pitchFamily="50" charset="0"/>
                </a:rPr>
                <a:t>nie odręczny rysunek!) </a:t>
              </a: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zaznacz:</a:t>
              </a:r>
            </a:p>
            <a:p>
              <a:pPr marL="228594" marR="0" lvl="0" indent="-228594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tabLst/>
                <a:defRPr/>
              </a:pP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Użyj ikony z tej prezentacji.</a:t>
              </a:r>
            </a:p>
            <a:p>
              <a:pPr marL="285750" marR="0" lvl="0" indent="-285750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buFontTx/>
                <a:buChar char="-"/>
                <a:tabLst/>
                <a:defRPr/>
              </a:pP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Punkt zbiórki do ewakuacji</a:t>
              </a:r>
            </a:p>
            <a:p>
              <a:pPr marL="285750" marR="0" lvl="0" indent="-285750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buFontTx/>
                <a:buChar char="-"/>
                <a:tabLst/>
                <a:defRPr/>
              </a:pP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Apteczkę</a:t>
              </a:r>
            </a:p>
            <a:p>
              <a:pPr marL="285750" marR="0" lvl="0" indent="-285750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buFontTx/>
                <a:buChar char="-"/>
                <a:tabLst/>
                <a:defRPr/>
              </a:pP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- gaśnice</a:t>
              </a:r>
            </a:p>
            <a:p>
              <a:pPr marL="285750" marR="0" lvl="0" indent="-285750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buFontTx/>
                <a:buChar char="-"/>
                <a:tabLst/>
                <a:defRPr/>
              </a:pP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- miejsce gdzie jesteś,</a:t>
              </a:r>
            </a:p>
            <a:p>
              <a:pPr marL="285750" marR="0" lvl="0" indent="-285750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buFontTx/>
                <a:buChar char="-"/>
                <a:tabLst/>
                <a:defRPr/>
              </a:pP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Piktogramy zagrożeń  </a:t>
              </a:r>
              <a:endPara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cs typeface="Gotham Book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85244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3" descr="Zasób 6.png">
            <a:extLst>
              <a:ext uri="{FF2B5EF4-FFF2-40B4-BE49-F238E27FC236}">
                <a16:creationId xmlns:a16="http://schemas.microsoft.com/office/drawing/2014/main" id="{66C1EDD8-02BD-7CD9-275B-90CE1FEF97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81493" y="261707"/>
            <a:ext cx="2107475" cy="211886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5" name="Symbol zastępczy zawartości 33">
            <a:extLst>
              <a:ext uri="{FF2B5EF4-FFF2-40B4-BE49-F238E27FC236}">
                <a16:creationId xmlns:a16="http://schemas.microsoft.com/office/drawing/2014/main" id="{A1889AE4-2673-2CD1-A322-CE4DDCAAECC0}"/>
              </a:ext>
            </a:extLst>
          </p:cNvPr>
          <p:cNvSpPr txBox="1">
            <a:spLocks/>
          </p:cNvSpPr>
          <p:nvPr/>
        </p:nvSpPr>
        <p:spPr>
          <a:xfrm>
            <a:off x="9645776" y="752836"/>
            <a:ext cx="2404762" cy="12770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R="0" lvl="0" algn="ctr" defTabSz="914377" rtl="0" eaLnBrk="1" fontAlgn="auto" latinLnBrk="0" hangingPunct="1">
              <a:spcBef>
                <a:spcPts val="1000"/>
              </a:spcBef>
              <a:spcAft>
                <a:spcPts val="0"/>
              </a:spcAft>
              <a:buClr>
                <a:srgbClr val="535459"/>
              </a:buClr>
              <a:buSzTx/>
              <a:tabLst/>
              <a:defRPr/>
            </a:pP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Znaki ostrzegawcze i informacyjne</a:t>
            </a:r>
          </a:p>
        </p:txBody>
      </p:sp>
      <p:sp>
        <p:nvSpPr>
          <p:cNvPr id="6" name="Tytuł 37">
            <a:extLst>
              <a:ext uri="{FF2B5EF4-FFF2-40B4-BE49-F238E27FC236}">
                <a16:creationId xmlns:a16="http://schemas.microsoft.com/office/drawing/2014/main" id="{8E57D581-DB36-9C8D-25E7-59C48FA05E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700" y="770297"/>
            <a:ext cx="7856574" cy="736964"/>
          </a:xfrm>
          <a:solidFill>
            <a:schemeClr val="bg1">
              <a:alpha val="66000"/>
            </a:schemeClr>
          </a:solidFill>
        </p:spPr>
        <p:txBody>
          <a:bodyPr/>
          <a:lstStyle/>
          <a:p>
            <a:pPr lvl="0"/>
            <a:r>
              <a:rPr lang="pl-PL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ajd ukryty – piktogramy/znaki do użycia w Planie Zagospodarowania (do slajdu 7.)</a:t>
            </a:r>
          </a:p>
        </p:txBody>
      </p:sp>
      <p:pic>
        <p:nvPicPr>
          <p:cNvPr id="1026" name="Picture 2" descr="Uwaga głębokie wykopy - Tablica budowlana">
            <a:extLst>
              <a:ext uri="{FF2B5EF4-FFF2-40B4-BE49-F238E27FC236}">
                <a16:creationId xmlns:a16="http://schemas.microsoft.com/office/drawing/2014/main" id="{729F7E83-7220-8A33-A149-0BE8A61612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130" y="1723237"/>
            <a:ext cx="642559" cy="46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45E116AA-91A6-1FC3-BABC-A4C9B7210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719" y="1723238"/>
            <a:ext cx="642559" cy="46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C361D57E-B903-2BB5-F6E5-F68D92025E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0648" y="1709518"/>
            <a:ext cx="661411" cy="481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2D805710-949A-A5E9-7790-BF5868F124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1761" y="1723238"/>
            <a:ext cx="642559" cy="46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5EF1FCE1-8941-D9C9-A931-E2BD9BFC76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4022" y="1723238"/>
            <a:ext cx="642559" cy="46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nak &quot;Apteczka pierwszej pomocy&quot;">
            <a:extLst>
              <a:ext uri="{FF2B5EF4-FFF2-40B4-BE49-F238E27FC236}">
                <a16:creationId xmlns:a16="http://schemas.microsoft.com/office/drawing/2014/main" id="{1CB4BF7D-C19C-C347-07E9-9EB710D93B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865" y="4262102"/>
            <a:ext cx="380099" cy="56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Znak &quot;Defibrylator (AED)&quot;">
            <a:extLst>
              <a:ext uri="{FF2B5EF4-FFF2-40B4-BE49-F238E27FC236}">
                <a16:creationId xmlns:a16="http://schemas.microsoft.com/office/drawing/2014/main" id="{D2F6C113-4F55-6B52-9705-B857F83F15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424" y="4262102"/>
            <a:ext cx="398279" cy="56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>
            <a:extLst>
              <a:ext uri="{FF2B5EF4-FFF2-40B4-BE49-F238E27FC236}">
                <a16:creationId xmlns:a16="http://schemas.microsoft.com/office/drawing/2014/main" id="{4157B1EE-DCE9-FE00-E880-8E73470D1D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866" y="5322621"/>
            <a:ext cx="888412" cy="295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>
            <a:extLst>
              <a:ext uri="{FF2B5EF4-FFF2-40B4-BE49-F238E27FC236}">
                <a16:creationId xmlns:a16="http://schemas.microsoft.com/office/drawing/2014/main" id="{06FA4499-4223-7932-B79B-0D404C6D82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866" y="5755037"/>
            <a:ext cx="888412" cy="295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Znak &quot;Gaśnica&quot; nieświecący">
            <a:extLst>
              <a:ext uri="{FF2B5EF4-FFF2-40B4-BE49-F238E27FC236}">
                <a16:creationId xmlns:a16="http://schemas.microsoft.com/office/drawing/2014/main" id="{8B8B4BF6-8E57-7386-1278-499A968551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3327" y="4262102"/>
            <a:ext cx="560993" cy="56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 descr="Foto">
            <a:extLst>
              <a:ext uri="{FF2B5EF4-FFF2-40B4-BE49-F238E27FC236}">
                <a16:creationId xmlns:a16="http://schemas.microsoft.com/office/drawing/2014/main" id="{8C804391-F456-A0FB-D486-97BB5650C0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6283" y="1723237"/>
            <a:ext cx="653015" cy="46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5EC40D2F-CE42-F793-9477-F80BEC0FBA0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221976" y="5322620"/>
            <a:ext cx="655867" cy="241989"/>
          </a:xfrm>
          <a:prstGeom prst="rect">
            <a:avLst/>
          </a:prstGeom>
        </p:spPr>
      </p:pic>
      <p:pic>
        <p:nvPicPr>
          <p:cNvPr id="1048" name="Picture 24" descr="Foto">
            <a:extLst>
              <a:ext uri="{FF2B5EF4-FFF2-40B4-BE49-F238E27FC236}">
                <a16:creationId xmlns:a16="http://schemas.microsoft.com/office/drawing/2014/main" id="{C1F0E45E-CDFF-E0D6-A788-23A080E44F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163" y="4262102"/>
            <a:ext cx="420745" cy="56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0" name="Picture 26">
            <a:extLst>
              <a:ext uri="{FF2B5EF4-FFF2-40B4-BE49-F238E27FC236}">
                <a16:creationId xmlns:a16="http://schemas.microsoft.com/office/drawing/2014/main" id="{6B7687CB-4CCA-60C0-D747-626115F4AC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6122" y="4262102"/>
            <a:ext cx="380099" cy="562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2" name="Picture 28">
            <a:extLst>
              <a:ext uri="{FF2B5EF4-FFF2-40B4-BE49-F238E27FC236}">
                <a16:creationId xmlns:a16="http://schemas.microsoft.com/office/drawing/2014/main" id="{4090B886-0AE5-FB26-E152-1A9E18560C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443" y="4262101"/>
            <a:ext cx="398279" cy="562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4" name="Picture 30">
            <a:extLst>
              <a:ext uri="{FF2B5EF4-FFF2-40B4-BE49-F238E27FC236}">
                <a16:creationId xmlns:a16="http://schemas.microsoft.com/office/drawing/2014/main" id="{134249AA-6E90-B531-19FD-4A63931E45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0379" y="1723237"/>
            <a:ext cx="642559" cy="46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6" name="Picture 32" descr="Megafon">
            <a:extLst>
              <a:ext uri="{FF2B5EF4-FFF2-40B4-BE49-F238E27FC236}">
                <a16:creationId xmlns:a16="http://schemas.microsoft.com/office/drawing/2014/main" id="{A518049C-8723-CFD6-26BD-FC12990429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293" y="5684473"/>
            <a:ext cx="403230" cy="403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Obraz 8">
            <a:extLst>
              <a:ext uri="{FF2B5EF4-FFF2-40B4-BE49-F238E27FC236}">
                <a16:creationId xmlns:a16="http://schemas.microsoft.com/office/drawing/2014/main" id="{CF8F814E-DA65-B115-3320-853A1002667F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278521" y="2539763"/>
            <a:ext cx="531869" cy="467626"/>
          </a:xfrm>
          <a:prstGeom prst="rect">
            <a:avLst/>
          </a:prstGeom>
        </p:spPr>
      </p:pic>
      <p:pic>
        <p:nvPicPr>
          <p:cNvPr id="10" name="Obraz 9">
            <a:extLst>
              <a:ext uri="{FF2B5EF4-FFF2-40B4-BE49-F238E27FC236}">
                <a16:creationId xmlns:a16="http://schemas.microsoft.com/office/drawing/2014/main" id="{ABE400FE-1F21-F3BE-4723-B4267AC359AF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33972" y="2539763"/>
            <a:ext cx="531869" cy="468855"/>
          </a:xfrm>
          <a:prstGeom prst="rect">
            <a:avLst/>
          </a:prstGeom>
        </p:spPr>
      </p:pic>
      <p:pic>
        <p:nvPicPr>
          <p:cNvPr id="11" name="Obraz 10">
            <a:extLst>
              <a:ext uri="{FF2B5EF4-FFF2-40B4-BE49-F238E27FC236}">
                <a16:creationId xmlns:a16="http://schemas.microsoft.com/office/drawing/2014/main" id="{0B301BE3-40A8-D58B-D8EA-0E0391A609FA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564539" y="2539763"/>
            <a:ext cx="540949" cy="467625"/>
          </a:xfrm>
          <a:prstGeom prst="rect">
            <a:avLst/>
          </a:prstGeom>
        </p:spPr>
      </p:pic>
      <p:pic>
        <p:nvPicPr>
          <p:cNvPr id="12" name="Obraz 11">
            <a:extLst>
              <a:ext uri="{FF2B5EF4-FFF2-40B4-BE49-F238E27FC236}">
                <a16:creationId xmlns:a16="http://schemas.microsoft.com/office/drawing/2014/main" id="{4F5D96EE-FAE7-0A18-8560-B71AACFA284B}"/>
              </a:ext>
            </a:extLst>
          </p:cNvPr>
          <p:cNvPicPr>
            <a:picLocks noChangeAspect="1"/>
          </p:cNvPicPr>
          <p:nvPr/>
        </p:nvPicPr>
        <p:blipFill rotWithShape="1">
          <a:blip r:embed="rId23"/>
          <a:srcRect l="1423"/>
          <a:stretch/>
        </p:blipFill>
        <p:spPr>
          <a:xfrm>
            <a:off x="2200089" y="2539763"/>
            <a:ext cx="531869" cy="511149"/>
          </a:xfrm>
          <a:prstGeom prst="rect">
            <a:avLst/>
          </a:prstGeom>
        </p:spPr>
      </p:pic>
      <p:pic>
        <p:nvPicPr>
          <p:cNvPr id="13" name="Obraz 12">
            <a:extLst>
              <a:ext uri="{FF2B5EF4-FFF2-40B4-BE49-F238E27FC236}">
                <a16:creationId xmlns:a16="http://schemas.microsoft.com/office/drawing/2014/main" id="{05BAF9EF-F558-A19E-32EC-B43485659C52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782340" y="2539763"/>
            <a:ext cx="531869" cy="468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421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ytuł 35"/>
          <p:cNvSpPr>
            <a:spLocks noGrp="1"/>
          </p:cNvSpPr>
          <p:nvPr>
            <p:ph type="title"/>
          </p:nvPr>
        </p:nvSpPr>
        <p:spPr>
          <a:xfrm>
            <a:off x="2083980" y="37943"/>
            <a:ext cx="9841319" cy="736964"/>
          </a:xfrm>
        </p:spPr>
        <p:txBody>
          <a:bodyPr>
            <a:noAutofit/>
          </a:bodyPr>
          <a:lstStyle/>
          <a:p>
            <a:pPr lvl="0"/>
            <a:r>
              <a:rPr lang="pl-PL" b="1" dirty="0">
                <a:latin typeface="Arial Nova Cond" panose="020B0506020202020204" pitchFamily="34" charset="0"/>
              </a:rPr>
              <a:t>Pracownicy nadzoru budowy</a:t>
            </a:r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47C2800E-ED4A-4921-AADE-1D7BB86AC361}"/>
              </a:ext>
            </a:extLst>
          </p:cNvPr>
          <p:cNvSpPr txBox="1"/>
          <p:nvPr/>
        </p:nvSpPr>
        <p:spPr>
          <a:xfrm>
            <a:off x="266700" y="1296000"/>
            <a:ext cx="816240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 Cond" panose="020B0506020202020204" pitchFamily="34" charset="0"/>
              </a:rPr>
              <a:t>Pracownicy nadzoru budowy mają ukończone szkolenie okresowe BHP dla osób kierujących pracownikam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 Cond" panose="020B0506020202020204" pitchFamily="34" charset="0"/>
              </a:rPr>
              <a:t>Poświęcają ponad 50 % czasu pracy na przebywanie bezpośrednio na budowi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 Cond" panose="020B0506020202020204" pitchFamily="34" charset="0"/>
              </a:rPr>
              <a:t>Stanowią co najmniej 1/10 liczby pracowników produkcyjnych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l-PL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ova Cond" panose="020B0506020202020204" pitchFamily="34" charset="0"/>
            </a:endParaRPr>
          </a:p>
        </p:txBody>
      </p:sp>
      <p:pic>
        <p:nvPicPr>
          <p:cNvPr id="12" name="Obraz 11">
            <a:extLst>
              <a:ext uri="{FF2B5EF4-FFF2-40B4-BE49-F238E27FC236}">
                <a16:creationId xmlns:a16="http://schemas.microsoft.com/office/drawing/2014/main" id="{4C794E99-D464-4239-AB06-3999B232A61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7788"/>
          <a:stretch/>
        </p:blipFill>
        <p:spPr>
          <a:xfrm>
            <a:off x="1743709" y="3078550"/>
            <a:ext cx="4336627" cy="3018991"/>
          </a:xfrm>
          <a:prstGeom prst="rect">
            <a:avLst/>
          </a:prstGeom>
        </p:spPr>
      </p:pic>
      <p:pic>
        <p:nvPicPr>
          <p:cNvPr id="9" name="Obraz 8" descr="Obraz zawierający podłoże&#10;&#10;Opis wygenerowany automatycznie">
            <a:extLst>
              <a:ext uri="{FF2B5EF4-FFF2-40B4-BE49-F238E27FC236}">
                <a16:creationId xmlns:a16="http://schemas.microsoft.com/office/drawing/2014/main" id="{DDB7C7B2-823C-46BC-8B20-47D4021897A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974"/>
          <a:stretch/>
        </p:blipFill>
        <p:spPr>
          <a:xfrm rot="5400000">
            <a:off x="7866647" y="2258260"/>
            <a:ext cx="4853868" cy="3263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63273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RU8yzF_2qngvexv7g_3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chWBJHTKKG6UJbTSYye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zl9hXOxXJE8GfqoCZ8k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v.mFPBTlOPGtECrhYvu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zl9hXOxXJE8GfqoCZ8k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3_Motyw pakietu Office">
  <a:themeElements>
    <a:clrScheme name="Ech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Motyw pakietu Office">
  <a:themeElements>
    <a:clrScheme name="Ech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_Firm Format - template_Blue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F0F0F8"/>
      </a:accent1>
      <a:accent2>
        <a:srgbClr val="28B3DD"/>
      </a:accent2>
      <a:accent3>
        <a:srgbClr val="CFD7E6"/>
      </a:accent3>
      <a:accent4>
        <a:srgbClr val="0C57A2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3E13674-A1AE-4CD7-A766-C89FB4327D25}" vid="{EFCF8206-EE22-4ED1-8604-A72CD5CE5B04}"/>
    </a:ext>
  </a:extLst>
</a:theme>
</file>

<file path=ppt/theme/theme4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a542d5f-b2a9-429b-b47b-8343782dcc81">
      <Terms xmlns="http://schemas.microsoft.com/office/infopath/2007/PartnerControls"/>
    </lcf76f155ced4ddcb4097134ff3c332f>
    <TaxCatchAll xmlns="275e66ad-cb0c-462a-b893-e50e4346a574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AFCF6A7FF11B740A7917674ED2C216C" ma:contentTypeVersion="15" ma:contentTypeDescription="Utwórz nowy dokument." ma:contentTypeScope="" ma:versionID="fd598c3752292b1b824f5086dfd448f2">
  <xsd:schema xmlns:xsd="http://www.w3.org/2001/XMLSchema" xmlns:xs="http://www.w3.org/2001/XMLSchema" xmlns:p="http://schemas.microsoft.com/office/2006/metadata/properties" xmlns:ns2="275e66ad-cb0c-462a-b893-e50e4346a574" xmlns:ns3="da542d5f-b2a9-429b-b47b-8343782dcc81" targetNamespace="http://schemas.microsoft.com/office/2006/metadata/properties" ma:root="true" ma:fieldsID="ced5650901aed4198c1ab4111ca53712" ns2:_="" ns3:_="">
    <xsd:import namespace="275e66ad-cb0c-462a-b893-e50e4346a574"/>
    <xsd:import namespace="da542d5f-b2a9-429b-b47b-8343782dcc8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lcf76f155ced4ddcb4097134ff3c332f" minOccurs="0"/>
                <xsd:element ref="ns2:TaxCatchAll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LengthInSecond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5e66ad-cb0c-462a-b893-e50e4346a57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Udostępniani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Udostępnione dla — szczegóły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9cb7e916-a9eb-45cc-9000-596a7948dcba}" ma:internalName="TaxCatchAll" ma:showField="CatchAllData" ma:web="275e66ad-cb0c-462a-b893-e50e4346a57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542d5f-b2a9-429b-b47b-8343782dcc8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Tagi obrazów" ma:readOnly="false" ma:fieldId="{5cf76f15-5ced-4ddc-b409-7134ff3c332f}" ma:taxonomyMulti="true" ma:sspId="659e6cfe-8a72-4a82-9449-87dbf8acb4b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zawartości"/>
        <xsd:element ref="dc:title" minOccurs="0" maxOccurs="1" ma:index="4" ma:displayName="Tytuł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9FCED9F-004B-413A-AA08-05611E9AE70D}">
  <ds:schemaRefs>
    <ds:schemaRef ds:uri="http://www.w3.org/XML/1998/namespace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schemas.microsoft.com/office/2006/documentManagement/types"/>
    <ds:schemaRef ds:uri="da542d5f-b2a9-429b-b47b-8343782dcc81"/>
    <ds:schemaRef ds:uri="275e66ad-cb0c-462a-b893-e50e4346a574"/>
    <ds:schemaRef ds:uri="http://schemas.microsoft.com/office/2006/metadata/properties"/>
    <ds:schemaRef ds:uri="http://purl.org/dc/dcmitype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CFACB404-B471-48B1-A398-1FC56F7DF00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1E83843-59DE-4859-B1DA-AAF4FDA2AF9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75e66ad-cb0c-462a-b893-e50e4346a574"/>
    <ds:schemaRef ds:uri="da542d5f-b2a9-429b-b47b-8343782dcc8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94</TotalTime>
  <Words>3106</Words>
  <Application>Microsoft Office PowerPoint</Application>
  <PresentationFormat>Panoramiczny</PresentationFormat>
  <Paragraphs>391</Paragraphs>
  <Slides>64</Slides>
  <Notes>20</Notes>
  <HiddenSlides>1</HiddenSlides>
  <MMClips>0</MMClips>
  <ScaleCrop>false</ScaleCrop>
  <HeadingPairs>
    <vt:vector size="8" baseType="variant">
      <vt:variant>
        <vt:lpstr>Używane czcionki</vt:lpstr>
      </vt:variant>
      <vt:variant>
        <vt:i4>8</vt:i4>
      </vt:variant>
      <vt:variant>
        <vt:lpstr>Motyw</vt:lpstr>
      </vt:variant>
      <vt:variant>
        <vt:i4>3</vt:i4>
      </vt:variant>
      <vt:variant>
        <vt:lpstr>Osadzone serwery OLE</vt:lpstr>
      </vt:variant>
      <vt:variant>
        <vt:i4>2</vt:i4>
      </vt:variant>
      <vt:variant>
        <vt:lpstr>Tytuły slajdów</vt:lpstr>
      </vt:variant>
      <vt:variant>
        <vt:i4>64</vt:i4>
      </vt:variant>
    </vt:vector>
  </HeadingPairs>
  <TitlesOfParts>
    <vt:vector size="77" baseType="lpstr">
      <vt:lpstr>Arial</vt:lpstr>
      <vt:lpstr>Arial Nova Cond</vt:lpstr>
      <vt:lpstr>Calibri</vt:lpstr>
      <vt:lpstr>Calibri Light</vt:lpstr>
      <vt:lpstr>Castellar</vt:lpstr>
      <vt:lpstr>Gotham Book</vt:lpstr>
      <vt:lpstr>Gotham Light</vt:lpstr>
      <vt:lpstr>Wingdings</vt:lpstr>
      <vt:lpstr>3_Motyw pakietu Office</vt:lpstr>
      <vt:lpstr>2_Motyw pakietu Office</vt:lpstr>
      <vt:lpstr>6_Firm Format - template_Blue</vt:lpstr>
      <vt:lpstr>think-cell Slide</vt:lpstr>
      <vt:lpstr>Photo Editor Photo</vt:lpstr>
      <vt:lpstr>Prezentacja programu PowerPoint</vt:lpstr>
      <vt:lpstr>Prezentacja programu PowerPoint</vt:lpstr>
      <vt:lpstr>Informacje o projekcie  wpisz nazwę Twojego projektu About the project</vt:lpstr>
      <vt:lpstr>Nasze wartości | Our values</vt:lpstr>
      <vt:lpstr>Zespół projektowy Project team</vt:lpstr>
      <vt:lpstr>Ewakuacja Evacuation</vt:lpstr>
      <vt:lpstr>Plan zagospodarowania budowy Site layout</vt:lpstr>
      <vt:lpstr>Slajd ukryty – piktogramy/znaki do użycia w Planie Zagospodarowania (do slajdu 7.)</vt:lpstr>
      <vt:lpstr>Pracownicy nadzoru budowy</vt:lpstr>
      <vt:lpstr>Prezentacja programu PowerPoint</vt:lpstr>
      <vt:lpstr>Prezentacja programu PowerPoint</vt:lpstr>
      <vt:lpstr>Prezentacja programu PowerPoint</vt:lpstr>
      <vt:lpstr>ZROZUMIENIE HIERARCHII DOBORU ŚRODKÓW OCHRONY  (WŁAŚCIWA OCENA RYZYKA I PLANOWANIE)  1 (pierwszy wybór)  5 (ostateczność)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zykłady z rzeczywistości Oparzenie betonem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Steve Iddon</dc:creator>
  <cp:lastModifiedBy>Łukasz Bartnicki</cp:lastModifiedBy>
  <cp:revision>120</cp:revision>
  <cp:lastPrinted>2023-11-27T09:47:17Z</cp:lastPrinted>
  <dcterms:created xsi:type="dcterms:W3CDTF">2017-06-07T11:54:22Z</dcterms:created>
  <dcterms:modified xsi:type="dcterms:W3CDTF">2024-04-11T20:48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AFCF6A7FF11B740A7917674ED2C216C</vt:lpwstr>
  </property>
  <property fmtid="{D5CDD505-2E9C-101B-9397-08002B2CF9AE}" pid="3" name="_dlc_DocIdItemGuid">
    <vt:lpwstr>fc97e099-7d2f-47b1-a40e-79cb889fda1f</vt:lpwstr>
  </property>
  <property fmtid="{D5CDD505-2E9C-101B-9397-08002B2CF9AE}" pid="4" name="MediaServiceImageTags">
    <vt:lpwstr/>
  </property>
</Properties>
</file>